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19.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0.xml" ContentType="application/vnd.openxmlformats-officedocument.theme+xml"/>
  <Override PartName="/ppt/slideLayouts/slideLayout13.xml" ContentType="application/vnd.openxmlformats-officedocument.presentationml.slideLayout+xml"/>
  <Override PartName="/ppt/theme/theme21.xml" ContentType="application/vnd.openxmlformats-officedocument.theme+xml"/>
  <Override PartName="/ppt/slideLayouts/slideLayout14.xml" ContentType="application/vnd.openxmlformats-officedocument.presentationml.slideLayout+xml"/>
  <Override PartName="/ppt/theme/theme2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8.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9.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0.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1.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6.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3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38.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39.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64" r:id="rId1"/>
    <p:sldMasterId id="2147484073" r:id="rId2"/>
    <p:sldMasterId id="2147484084" r:id="rId3"/>
    <p:sldMasterId id="2147484096" r:id="rId4"/>
    <p:sldMasterId id="2147484108" r:id="rId5"/>
    <p:sldMasterId id="2147484132" r:id="rId6"/>
    <p:sldMasterId id="2147484141" r:id="rId7"/>
    <p:sldMasterId id="2147484152" r:id="rId8"/>
    <p:sldMasterId id="2147484161" r:id="rId9"/>
    <p:sldMasterId id="2147484172" r:id="rId10"/>
    <p:sldMasterId id="2147484181" r:id="rId11"/>
    <p:sldMasterId id="2147484192" r:id="rId12"/>
    <p:sldMasterId id="2147484201" r:id="rId13"/>
    <p:sldMasterId id="2147484212" r:id="rId14"/>
    <p:sldMasterId id="2147484221" r:id="rId15"/>
    <p:sldMasterId id="2147484232" r:id="rId16"/>
    <p:sldMasterId id="2147483695" r:id="rId17"/>
    <p:sldMasterId id="2147483874" r:id="rId18"/>
    <p:sldMasterId id="2147484983" r:id="rId19"/>
    <p:sldMasterId id="2147485016" r:id="rId20"/>
    <p:sldMasterId id="2147485019" r:id="rId21"/>
    <p:sldMasterId id="2147485022" r:id="rId22"/>
    <p:sldMasterId id="2147485025" r:id="rId23"/>
    <p:sldMasterId id="2147485035" r:id="rId24"/>
    <p:sldMasterId id="2147485047" r:id="rId25"/>
    <p:sldMasterId id="2147485059" r:id="rId26"/>
    <p:sldMasterId id="2147485068" r:id="rId27"/>
    <p:sldMasterId id="2147485101" r:id="rId28"/>
    <p:sldMasterId id="2147485110" r:id="rId29"/>
    <p:sldMasterId id="2147485122" r:id="rId30"/>
    <p:sldMasterId id="2147485131" r:id="rId31"/>
    <p:sldMasterId id="2147487203" r:id="rId32"/>
    <p:sldMasterId id="2147487219" r:id="rId33"/>
    <p:sldMasterId id="2147487232" r:id="rId34"/>
    <p:sldMasterId id="2147487681" r:id="rId35"/>
    <p:sldMasterId id="2147487933" r:id="rId36"/>
    <p:sldMasterId id="2147487945" r:id="rId37"/>
    <p:sldMasterId id="2147487958" r:id="rId38"/>
    <p:sldMasterId id="2147487970" r:id="rId39"/>
  </p:sldMasterIdLst>
  <p:notesMasterIdLst>
    <p:notesMasterId r:id="rId59"/>
  </p:notesMasterIdLst>
  <p:handoutMasterIdLst>
    <p:handoutMasterId r:id="rId60"/>
  </p:handoutMasterIdLst>
  <p:sldIdLst>
    <p:sldId id="538" r:id="rId40"/>
    <p:sldId id="539" r:id="rId41"/>
    <p:sldId id="540" r:id="rId42"/>
    <p:sldId id="541" r:id="rId43"/>
    <p:sldId id="553" r:id="rId44"/>
    <p:sldId id="542" r:id="rId45"/>
    <p:sldId id="554" r:id="rId46"/>
    <p:sldId id="543" r:id="rId47"/>
    <p:sldId id="548" r:id="rId48"/>
    <p:sldId id="551" r:id="rId49"/>
    <p:sldId id="546" r:id="rId50"/>
    <p:sldId id="470" r:id="rId51"/>
    <p:sldId id="493" r:id="rId52"/>
    <p:sldId id="512" r:id="rId53"/>
    <p:sldId id="508" r:id="rId54"/>
    <p:sldId id="462" r:id="rId55"/>
    <p:sldId id="463" r:id="rId56"/>
    <p:sldId id="552" r:id="rId57"/>
    <p:sldId id="467" r:id="rId58"/>
  </p:sldIdLst>
  <p:sldSz cx="9144000" cy="6858000" type="screen4x3"/>
  <p:notesSz cx="6797675" cy="9928225"/>
  <p:defaultTextStyle>
    <a:defPPr>
      <a:defRPr lang="fr-FR"/>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8F8F8"/>
    <a:srgbClr val="FF33CC"/>
    <a:srgbClr val="00467F"/>
    <a:srgbClr val="00507A"/>
    <a:srgbClr val="4D7DB1"/>
    <a:srgbClr val="009896"/>
    <a:srgbClr val="6DFF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34559" autoAdjust="0"/>
    <p:restoredTop sz="78508" autoAdjust="0"/>
  </p:normalViewPr>
  <p:slideViewPr>
    <p:cSldViewPr>
      <p:cViewPr varScale="1">
        <p:scale>
          <a:sx n="82" d="100"/>
          <a:sy n="82" d="100"/>
        </p:scale>
        <p:origin x="1186" y="6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p:cViewPr varScale="1">
        <p:scale>
          <a:sx n="57" d="100"/>
          <a:sy n="57" d="100"/>
        </p:scale>
        <p:origin x="3346" y="67"/>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slide" Target="slides/slide8.xml"/><Relationship Id="rId50" Type="http://schemas.openxmlformats.org/officeDocument/2006/relationships/slide" Target="slides/slide11.xml"/><Relationship Id="rId55" Type="http://schemas.openxmlformats.org/officeDocument/2006/relationships/slide" Target="slides/slide16.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2.xml"/><Relationship Id="rId54" Type="http://schemas.openxmlformats.org/officeDocument/2006/relationships/slide" Target="slides/slide15.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slide" Target="slides/slide6.xml"/><Relationship Id="rId53" Type="http://schemas.openxmlformats.org/officeDocument/2006/relationships/slide" Target="slides/slide14.xml"/><Relationship Id="rId58"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10.xml"/><Relationship Id="rId57" Type="http://schemas.openxmlformats.org/officeDocument/2006/relationships/slide" Target="slides/slide18.xml"/><Relationship Id="rId61"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5.xml"/><Relationship Id="rId52" Type="http://schemas.openxmlformats.org/officeDocument/2006/relationships/slide" Target="slides/slide13.xml"/><Relationship Id="rId6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slide" Target="slides/slide9.xml"/><Relationship Id="rId56" Type="http://schemas.openxmlformats.org/officeDocument/2006/relationships/slide" Target="slides/slide17.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12.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7.xml"/><Relationship Id="rId5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C803C2-3371-4F4E-843A-FF856EFA9B84}" type="doc">
      <dgm:prSet loTypeId="urn:microsoft.com/office/officeart/2005/8/layout/pyramid2" loCatId="list" qsTypeId="urn:microsoft.com/office/officeart/2005/8/quickstyle/simple1" qsCatId="simple" csTypeId="urn:microsoft.com/office/officeart/2005/8/colors/accent5_3" csCatId="accent5" phldr="1"/>
      <dgm:spPr/>
      <dgm:t>
        <a:bodyPr/>
        <a:lstStyle/>
        <a:p>
          <a:endParaRPr lang="fr-FR"/>
        </a:p>
      </dgm:t>
    </dgm:pt>
    <dgm:pt modelId="{BCBAAA97-5906-4650-920A-FA687E3A80AE}">
      <dgm:prSet phldrT="[Texte]"/>
      <dgm:spPr>
        <a:solidFill>
          <a:schemeClr val="tx2">
            <a:alpha val="90000"/>
          </a:schemeClr>
        </a:solidFill>
      </dgm:spPr>
      <dgm:t>
        <a:bodyPr/>
        <a:lstStyle/>
        <a:p>
          <a:endParaRPr lang="fr-FR" dirty="0"/>
        </a:p>
      </dgm:t>
    </dgm:pt>
    <dgm:pt modelId="{540435F4-B216-428E-90FE-BFA461B2878A}" type="sibTrans" cxnId="{2033D742-D924-42C5-9444-29DFDF3AFCA4}">
      <dgm:prSet/>
      <dgm:spPr/>
      <dgm:t>
        <a:bodyPr/>
        <a:lstStyle/>
        <a:p>
          <a:endParaRPr lang="fr-FR"/>
        </a:p>
      </dgm:t>
    </dgm:pt>
    <dgm:pt modelId="{7BF3E49C-2252-49A0-8F37-103A71D1EF7A}" type="parTrans" cxnId="{2033D742-D924-42C5-9444-29DFDF3AFCA4}">
      <dgm:prSet/>
      <dgm:spPr/>
      <dgm:t>
        <a:bodyPr/>
        <a:lstStyle/>
        <a:p>
          <a:endParaRPr lang="fr-FR"/>
        </a:p>
      </dgm:t>
    </dgm:pt>
    <dgm:pt modelId="{2F03F911-D9A4-46FF-BDD7-75D79E45033E}">
      <dgm:prSet phldrT="[Texte]"/>
      <dgm:spPr>
        <a:solidFill>
          <a:schemeClr val="tx2">
            <a:alpha val="90000"/>
          </a:schemeClr>
        </a:solidFill>
      </dgm:spPr>
      <dgm:t>
        <a:bodyPr/>
        <a:lstStyle/>
        <a:p>
          <a:endParaRPr lang="fr-FR" dirty="0"/>
        </a:p>
      </dgm:t>
    </dgm:pt>
    <dgm:pt modelId="{59672128-46D3-4278-B4E1-9684CCB97929}" type="parTrans" cxnId="{5A6D10A0-F504-4AD1-80AC-25AEE4DBB72A}">
      <dgm:prSet/>
      <dgm:spPr/>
      <dgm:t>
        <a:bodyPr/>
        <a:lstStyle/>
        <a:p>
          <a:endParaRPr lang="fr-FR"/>
        </a:p>
      </dgm:t>
    </dgm:pt>
    <dgm:pt modelId="{486AEB6B-D633-4C1F-B563-7B2640787522}" type="sibTrans" cxnId="{5A6D10A0-F504-4AD1-80AC-25AEE4DBB72A}">
      <dgm:prSet/>
      <dgm:spPr/>
      <dgm:t>
        <a:bodyPr/>
        <a:lstStyle/>
        <a:p>
          <a:endParaRPr lang="fr-FR"/>
        </a:p>
      </dgm:t>
    </dgm:pt>
    <dgm:pt modelId="{AE3CD50B-BCEA-4E0B-9027-23D809DA0B39}">
      <dgm:prSet phldrT="[Texte]"/>
      <dgm:spPr>
        <a:solidFill>
          <a:schemeClr val="tx2">
            <a:alpha val="90000"/>
          </a:schemeClr>
        </a:solidFill>
      </dgm:spPr>
      <dgm:t>
        <a:bodyPr/>
        <a:lstStyle/>
        <a:p>
          <a:endParaRPr lang="fr-FR" dirty="0"/>
        </a:p>
      </dgm:t>
    </dgm:pt>
    <dgm:pt modelId="{1F56626C-7B5C-46C7-8548-AC54D4F41D56}" type="parTrans" cxnId="{6EE763AC-BF0B-49AE-9B59-312806305BF0}">
      <dgm:prSet/>
      <dgm:spPr/>
      <dgm:t>
        <a:bodyPr/>
        <a:lstStyle/>
        <a:p>
          <a:endParaRPr lang="fr-FR"/>
        </a:p>
      </dgm:t>
    </dgm:pt>
    <dgm:pt modelId="{F7DD082C-73A3-4AE8-9C55-280AD01B2584}" type="sibTrans" cxnId="{6EE763AC-BF0B-49AE-9B59-312806305BF0}">
      <dgm:prSet/>
      <dgm:spPr/>
      <dgm:t>
        <a:bodyPr/>
        <a:lstStyle/>
        <a:p>
          <a:endParaRPr lang="fr-FR"/>
        </a:p>
      </dgm:t>
    </dgm:pt>
    <dgm:pt modelId="{DA08CFDD-1CD2-4F4A-96CB-A615618ED626}" type="pres">
      <dgm:prSet presAssocID="{AAC803C2-3371-4F4E-843A-FF856EFA9B84}" presName="compositeShape" presStyleCnt="0">
        <dgm:presLayoutVars>
          <dgm:dir/>
          <dgm:resizeHandles/>
        </dgm:presLayoutVars>
      </dgm:prSet>
      <dgm:spPr/>
      <dgm:t>
        <a:bodyPr/>
        <a:lstStyle/>
        <a:p>
          <a:endParaRPr lang="fr-FR"/>
        </a:p>
      </dgm:t>
    </dgm:pt>
    <dgm:pt modelId="{550FE020-0F04-4C13-989B-2F7E70ABB03D}" type="pres">
      <dgm:prSet presAssocID="{AAC803C2-3371-4F4E-843A-FF856EFA9B84}" presName="pyramid" presStyleLbl="node1" presStyleIdx="0" presStyleCnt="1" custScaleX="107707" custLinFactNeighborX="-19533"/>
      <dgm:spPr>
        <a:solidFill>
          <a:srgbClr val="00206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210B116A-7A07-49E7-98B5-A7321B163099}" type="pres">
      <dgm:prSet presAssocID="{AAC803C2-3371-4F4E-843A-FF856EFA9B84}" presName="theList" presStyleCnt="0"/>
      <dgm:spPr/>
    </dgm:pt>
    <dgm:pt modelId="{111F3492-22C4-40F4-9280-A7981054F49D}" type="pres">
      <dgm:prSet presAssocID="{BCBAAA97-5906-4650-920A-FA687E3A80AE}" presName="aNode" presStyleLbl="fgAcc1" presStyleIdx="0" presStyleCnt="3" custScaleX="159957" custScaleY="28676" custLinFactNeighborX="20534" custLinFactNeighborY="25941">
        <dgm:presLayoutVars>
          <dgm:bulletEnabled val="1"/>
        </dgm:presLayoutVars>
      </dgm:prSet>
      <dgm:spPr/>
      <dgm:t>
        <a:bodyPr/>
        <a:lstStyle/>
        <a:p>
          <a:endParaRPr lang="fr-FR"/>
        </a:p>
      </dgm:t>
    </dgm:pt>
    <dgm:pt modelId="{02807FE4-7E67-4D61-9AFA-2963D519953A}" type="pres">
      <dgm:prSet presAssocID="{BCBAAA97-5906-4650-920A-FA687E3A80AE}" presName="aSpace" presStyleCnt="0"/>
      <dgm:spPr/>
    </dgm:pt>
    <dgm:pt modelId="{263D5465-4BC6-4130-9F71-1616A361AEA1}" type="pres">
      <dgm:prSet presAssocID="{2F03F911-D9A4-46FF-BDD7-75D79E45033E}" presName="aNode" presStyleLbl="fgAcc1" presStyleIdx="1" presStyleCnt="3" custScaleX="158873" custScaleY="31938" custLinFactNeighborX="18072" custLinFactNeighborY="50324">
        <dgm:presLayoutVars>
          <dgm:bulletEnabled val="1"/>
        </dgm:presLayoutVars>
      </dgm:prSet>
      <dgm:spPr/>
      <dgm:t>
        <a:bodyPr/>
        <a:lstStyle/>
        <a:p>
          <a:endParaRPr lang="fr-FR"/>
        </a:p>
      </dgm:t>
    </dgm:pt>
    <dgm:pt modelId="{DCACCB86-3A2E-4E7C-B8EC-4640D36F9B43}" type="pres">
      <dgm:prSet presAssocID="{2F03F911-D9A4-46FF-BDD7-75D79E45033E}" presName="aSpace" presStyleCnt="0"/>
      <dgm:spPr/>
    </dgm:pt>
    <dgm:pt modelId="{B05DCE7F-37EC-49C7-A04F-797BB782EBB8}" type="pres">
      <dgm:prSet presAssocID="{AE3CD50B-BCEA-4E0B-9027-23D809DA0B39}" presName="aNode" presStyleLbl="fgAcc1" presStyleIdx="2" presStyleCnt="3" custScaleX="158873" custScaleY="33284" custLinFactNeighborX="18370" custLinFactNeighborY="62700">
        <dgm:presLayoutVars>
          <dgm:bulletEnabled val="1"/>
        </dgm:presLayoutVars>
      </dgm:prSet>
      <dgm:spPr/>
      <dgm:t>
        <a:bodyPr/>
        <a:lstStyle/>
        <a:p>
          <a:endParaRPr lang="fr-FR"/>
        </a:p>
      </dgm:t>
    </dgm:pt>
    <dgm:pt modelId="{623E417F-A0D6-48DE-A2CC-7D40C762595F}" type="pres">
      <dgm:prSet presAssocID="{AE3CD50B-BCEA-4E0B-9027-23D809DA0B39}" presName="aSpace" presStyleCnt="0"/>
      <dgm:spPr/>
    </dgm:pt>
  </dgm:ptLst>
  <dgm:cxnLst>
    <dgm:cxn modelId="{39A763AC-A729-44EB-B63D-B38EDED1178B}" type="presOf" srcId="{AAC803C2-3371-4F4E-843A-FF856EFA9B84}" destId="{DA08CFDD-1CD2-4F4A-96CB-A615618ED626}" srcOrd="0" destOrd="0" presId="urn:microsoft.com/office/officeart/2005/8/layout/pyramid2"/>
    <dgm:cxn modelId="{102180E1-1217-4492-A08F-18B1292E5ACE}" type="presOf" srcId="{BCBAAA97-5906-4650-920A-FA687E3A80AE}" destId="{111F3492-22C4-40F4-9280-A7981054F49D}" srcOrd="0" destOrd="0" presId="urn:microsoft.com/office/officeart/2005/8/layout/pyramid2"/>
    <dgm:cxn modelId="{4A09AD08-A7FA-4A3B-A62F-596038A52AD1}" type="presOf" srcId="{2F03F911-D9A4-46FF-BDD7-75D79E45033E}" destId="{263D5465-4BC6-4130-9F71-1616A361AEA1}" srcOrd="0" destOrd="0" presId="urn:microsoft.com/office/officeart/2005/8/layout/pyramid2"/>
    <dgm:cxn modelId="{2033D742-D924-42C5-9444-29DFDF3AFCA4}" srcId="{AAC803C2-3371-4F4E-843A-FF856EFA9B84}" destId="{BCBAAA97-5906-4650-920A-FA687E3A80AE}" srcOrd="0" destOrd="0" parTransId="{7BF3E49C-2252-49A0-8F37-103A71D1EF7A}" sibTransId="{540435F4-B216-428E-90FE-BFA461B2878A}"/>
    <dgm:cxn modelId="{20652E61-B9EB-4130-AC6E-9EC4194FC138}" type="presOf" srcId="{AE3CD50B-BCEA-4E0B-9027-23D809DA0B39}" destId="{B05DCE7F-37EC-49C7-A04F-797BB782EBB8}" srcOrd="0" destOrd="0" presId="urn:microsoft.com/office/officeart/2005/8/layout/pyramid2"/>
    <dgm:cxn modelId="{5A6D10A0-F504-4AD1-80AC-25AEE4DBB72A}" srcId="{AAC803C2-3371-4F4E-843A-FF856EFA9B84}" destId="{2F03F911-D9A4-46FF-BDD7-75D79E45033E}" srcOrd="1" destOrd="0" parTransId="{59672128-46D3-4278-B4E1-9684CCB97929}" sibTransId="{486AEB6B-D633-4C1F-B563-7B2640787522}"/>
    <dgm:cxn modelId="{6EE763AC-BF0B-49AE-9B59-312806305BF0}" srcId="{AAC803C2-3371-4F4E-843A-FF856EFA9B84}" destId="{AE3CD50B-BCEA-4E0B-9027-23D809DA0B39}" srcOrd="2" destOrd="0" parTransId="{1F56626C-7B5C-46C7-8548-AC54D4F41D56}" sibTransId="{F7DD082C-73A3-4AE8-9C55-280AD01B2584}"/>
    <dgm:cxn modelId="{3E78FF67-9493-46AE-8BAE-EA280258E4EA}" type="presParOf" srcId="{DA08CFDD-1CD2-4F4A-96CB-A615618ED626}" destId="{550FE020-0F04-4C13-989B-2F7E70ABB03D}" srcOrd="0" destOrd="0" presId="urn:microsoft.com/office/officeart/2005/8/layout/pyramid2"/>
    <dgm:cxn modelId="{BD3A6797-E7B5-43B5-BB27-2077AD0A9A95}" type="presParOf" srcId="{DA08CFDD-1CD2-4F4A-96CB-A615618ED626}" destId="{210B116A-7A07-49E7-98B5-A7321B163099}" srcOrd="1" destOrd="0" presId="urn:microsoft.com/office/officeart/2005/8/layout/pyramid2"/>
    <dgm:cxn modelId="{BB94A252-D422-4614-93EC-82BCA4ADE869}" type="presParOf" srcId="{210B116A-7A07-49E7-98B5-A7321B163099}" destId="{111F3492-22C4-40F4-9280-A7981054F49D}" srcOrd="0" destOrd="0" presId="urn:microsoft.com/office/officeart/2005/8/layout/pyramid2"/>
    <dgm:cxn modelId="{F599213D-81D7-4B86-A969-23B57A0ED5ED}" type="presParOf" srcId="{210B116A-7A07-49E7-98B5-A7321B163099}" destId="{02807FE4-7E67-4D61-9AFA-2963D519953A}" srcOrd="1" destOrd="0" presId="urn:microsoft.com/office/officeart/2005/8/layout/pyramid2"/>
    <dgm:cxn modelId="{F27728CB-AC14-4AA8-9F95-C4D4C35902A4}" type="presParOf" srcId="{210B116A-7A07-49E7-98B5-A7321B163099}" destId="{263D5465-4BC6-4130-9F71-1616A361AEA1}" srcOrd="2" destOrd="0" presId="urn:microsoft.com/office/officeart/2005/8/layout/pyramid2"/>
    <dgm:cxn modelId="{B45E2AD0-5165-4034-A8F1-2420033C6333}" type="presParOf" srcId="{210B116A-7A07-49E7-98B5-A7321B163099}" destId="{DCACCB86-3A2E-4E7C-B8EC-4640D36F9B43}" srcOrd="3" destOrd="0" presId="urn:microsoft.com/office/officeart/2005/8/layout/pyramid2"/>
    <dgm:cxn modelId="{B53BC019-B772-4192-967A-0B8A61F5FE5F}" type="presParOf" srcId="{210B116A-7A07-49E7-98B5-A7321B163099}" destId="{B05DCE7F-37EC-49C7-A04F-797BB782EBB8}" srcOrd="4" destOrd="0" presId="urn:microsoft.com/office/officeart/2005/8/layout/pyramid2"/>
    <dgm:cxn modelId="{F1D13A34-9796-4137-B415-F450664B420D}" type="presParOf" srcId="{210B116A-7A07-49E7-98B5-A7321B163099}" destId="{623E417F-A0D6-48DE-A2CC-7D40C762595F}" srcOrd="5" destOrd="0" presId="urn:microsoft.com/office/officeart/2005/8/layout/pyramid2"/>
  </dgm:cxnLst>
  <dgm:bg/>
  <dgm:whole>
    <a:ln>
      <a:solidFill>
        <a:schemeClr val="accent1">
          <a:lumMod val="50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C803C2-3371-4F4E-843A-FF856EFA9B84}" type="doc">
      <dgm:prSet loTypeId="urn:microsoft.com/office/officeart/2005/8/layout/pyramid2" loCatId="list" qsTypeId="urn:microsoft.com/office/officeart/2005/8/quickstyle/simple1" qsCatId="simple" csTypeId="urn:microsoft.com/office/officeart/2005/8/colors/accent5_3" csCatId="accent5" phldr="1"/>
      <dgm:spPr/>
      <dgm:t>
        <a:bodyPr/>
        <a:lstStyle/>
        <a:p>
          <a:endParaRPr lang="fr-FR"/>
        </a:p>
      </dgm:t>
    </dgm:pt>
    <dgm:pt modelId="{BCBAAA97-5906-4650-920A-FA687E3A80AE}">
      <dgm:prSet phldrT="[Texte]"/>
      <dgm:spPr>
        <a:solidFill>
          <a:schemeClr val="tx2">
            <a:alpha val="90000"/>
          </a:schemeClr>
        </a:solidFill>
      </dgm:spPr>
      <dgm:t>
        <a:bodyPr/>
        <a:lstStyle/>
        <a:p>
          <a:endParaRPr lang="fr-FR" dirty="0"/>
        </a:p>
      </dgm:t>
    </dgm:pt>
    <dgm:pt modelId="{540435F4-B216-428E-90FE-BFA461B2878A}" type="sibTrans" cxnId="{2033D742-D924-42C5-9444-29DFDF3AFCA4}">
      <dgm:prSet/>
      <dgm:spPr/>
      <dgm:t>
        <a:bodyPr/>
        <a:lstStyle/>
        <a:p>
          <a:endParaRPr lang="fr-FR"/>
        </a:p>
      </dgm:t>
    </dgm:pt>
    <dgm:pt modelId="{7BF3E49C-2252-49A0-8F37-103A71D1EF7A}" type="parTrans" cxnId="{2033D742-D924-42C5-9444-29DFDF3AFCA4}">
      <dgm:prSet/>
      <dgm:spPr/>
      <dgm:t>
        <a:bodyPr/>
        <a:lstStyle/>
        <a:p>
          <a:endParaRPr lang="fr-FR"/>
        </a:p>
      </dgm:t>
    </dgm:pt>
    <dgm:pt modelId="{2F03F911-D9A4-46FF-BDD7-75D79E45033E}">
      <dgm:prSet phldrT="[Texte]"/>
      <dgm:spPr>
        <a:solidFill>
          <a:schemeClr val="tx2">
            <a:alpha val="90000"/>
          </a:schemeClr>
        </a:solidFill>
      </dgm:spPr>
      <dgm:t>
        <a:bodyPr/>
        <a:lstStyle/>
        <a:p>
          <a:endParaRPr lang="fr-FR" dirty="0"/>
        </a:p>
      </dgm:t>
    </dgm:pt>
    <dgm:pt modelId="{59672128-46D3-4278-B4E1-9684CCB97929}" type="parTrans" cxnId="{5A6D10A0-F504-4AD1-80AC-25AEE4DBB72A}">
      <dgm:prSet/>
      <dgm:spPr/>
      <dgm:t>
        <a:bodyPr/>
        <a:lstStyle/>
        <a:p>
          <a:endParaRPr lang="fr-FR"/>
        </a:p>
      </dgm:t>
    </dgm:pt>
    <dgm:pt modelId="{486AEB6B-D633-4C1F-B563-7B2640787522}" type="sibTrans" cxnId="{5A6D10A0-F504-4AD1-80AC-25AEE4DBB72A}">
      <dgm:prSet/>
      <dgm:spPr/>
      <dgm:t>
        <a:bodyPr/>
        <a:lstStyle/>
        <a:p>
          <a:endParaRPr lang="fr-FR"/>
        </a:p>
      </dgm:t>
    </dgm:pt>
    <dgm:pt modelId="{AE3CD50B-BCEA-4E0B-9027-23D809DA0B39}">
      <dgm:prSet phldrT="[Texte]"/>
      <dgm:spPr>
        <a:solidFill>
          <a:schemeClr val="tx2">
            <a:alpha val="90000"/>
          </a:schemeClr>
        </a:solidFill>
      </dgm:spPr>
      <dgm:t>
        <a:bodyPr/>
        <a:lstStyle/>
        <a:p>
          <a:endParaRPr lang="fr-FR" dirty="0"/>
        </a:p>
      </dgm:t>
    </dgm:pt>
    <dgm:pt modelId="{1F56626C-7B5C-46C7-8548-AC54D4F41D56}" type="parTrans" cxnId="{6EE763AC-BF0B-49AE-9B59-312806305BF0}">
      <dgm:prSet/>
      <dgm:spPr/>
      <dgm:t>
        <a:bodyPr/>
        <a:lstStyle/>
        <a:p>
          <a:endParaRPr lang="fr-FR"/>
        </a:p>
      </dgm:t>
    </dgm:pt>
    <dgm:pt modelId="{F7DD082C-73A3-4AE8-9C55-280AD01B2584}" type="sibTrans" cxnId="{6EE763AC-BF0B-49AE-9B59-312806305BF0}">
      <dgm:prSet/>
      <dgm:spPr/>
      <dgm:t>
        <a:bodyPr/>
        <a:lstStyle/>
        <a:p>
          <a:endParaRPr lang="fr-FR"/>
        </a:p>
      </dgm:t>
    </dgm:pt>
    <dgm:pt modelId="{DA08CFDD-1CD2-4F4A-96CB-A615618ED626}" type="pres">
      <dgm:prSet presAssocID="{AAC803C2-3371-4F4E-843A-FF856EFA9B84}" presName="compositeShape" presStyleCnt="0">
        <dgm:presLayoutVars>
          <dgm:dir/>
          <dgm:resizeHandles/>
        </dgm:presLayoutVars>
      </dgm:prSet>
      <dgm:spPr/>
      <dgm:t>
        <a:bodyPr/>
        <a:lstStyle/>
        <a:p>
          <a:endParaRPr lang="fr-FR"/>
        </a:p>
      </dgm:t>
    </dgm:pt>
    <dgm:pt modelId="{550FE020-0F04-4C13-989B-2F7E70ABB03D}" type="pres">
      <dgm:prSet presAssocID="{AAC803C2-3371-4F4E-843A-FF856EFA9B84}" presName="pyramid" presStyleLbl="node1" presStyleIdx="0" presStyleCnt="1" custScaleX="107707" custLinFactNeighborX="-19533"/>
      <dgm:spPr>
        <a:solidFill>
          <a:srgbClr val="00206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210B116A-7A07-49E7-98B5-A7321B163099}" type="pres">
      <dgm:prSet presAssocID="{AAC803C2-3371-4F4E-843A-FF856EFA9B84}" presName="theList" presStyleCnt="0"/>
      <dgm:spPr/>
    </dgm:pt>
    <dgm:pt modelId="{111F3492-22C4-40F4-9280-A7981054F49D}" type="pres">
      <dgm:prSet presAssocID="{BCBAAA97-5906-4650-920A-FA687E3A80AE}" presName="aNode" presStyleLbl="fgAcc1" presStyleIdx="0" presStyleCnt="3" custScaleX="159957" custScaleY="28676" custLinFactNeighborX="20534" custLinFactNeighborY="25941">
        <dgm:presLayoutVars>
          <dgm:bulletEnabled val="1"/>
        </dgm:presLayoutVars>
      </dgm:prSet>
      <dgm:spPr/>
      <dgm:t>
        <a:bodyPr/>
        <a:lstStyle/>
        <a:p>
          <a:endParaRPr lang="fr-FR"/>
        </a:p>
      </dgm:t>
    </dgm:pt>
    <dgm:pt modelId="{02807FE4-7E67-4D61-9AFA-2963D519953A}" type="pres">
      <dgm:prSet presAssocID="{BCBAAA97-5906-4650-920A-FA687E3A80AE}" presName="aSpace" presStyleCnt="0"/>
      <dgm:spPr/>
    </dgm:pt>
    <dgm:pt modelId="{263D5465-4BC6-4130-9F71-1616A361AEA1}" type="pres">
      <dgm:prSet presAssocID="{2F03F911-D9A4-46FF-BDD7-75D79E45033E}" presName="aNode" presStyleLbl="fgAcc1" presStyleIdx="1" presStyleCnt="3" custScaleX="158873" custScaleY="31938" custLinFactNeighborX="18072" custLinFactNeighborY="50324">
        <dgm:presLayoutVars>
          <dgm:bulletEnabled val="1"/>
        </dgm:presLayoutVars>
      </dgm:prSet>
      <dgm:spPr/>
      <dgm:t>
        <a:bodyPr/>
        <a:lstStyle/>
        <a:p>
          <a:endParaRPr lang="fr-FR"/>
        </a:p>
      </dgm:t>
    </dgm:pt>
    <dgm:pt modelId="{DCACCB86-3A2E-4E7C-B8EC-4640D36F9B43}" type="pres">
      <dgm:prSet presAssocID="{2F03F911-D9A4-46FF-BDD7-75D79E45033E}" presName="aSpace" presStyleCnt="0"/>
      <dgm:spPr/>
    </dgm:pt>
    <dgm:pt modelId="{B05DCE7F-37EC-49C7-A04F-797BB782EBB8}" type="pres">
      <dgm:prSet presAssocID="{AE3CD50B-BCEA-4E0B-9027-23D809DA0B39}" presName="aNode" presStyleLbl="fgAcc1" presStyleIdx="2" presStyleCnt="3" custScaleX="158873" custScaleY="33284" custLinFactNeighborX="18370" custLinFactNeighborY="62700">
        <dgm:presLayoutVars>
          <dgm:bulletEnabled val="1"/>
        </dgm:presLayoutVars>
      </dgm:prSet>
      <dgm:spPr/>
      <dgm:t>
        <a:bodyPr/>
        <a:lstStyle/>
        <a:p>
          <a:endParaRPr lang="fr-FR"/>
        </a:p>
      </dgm:t>
    </dgm:pt>
    <dgm:pt modelId="{623E417F-A0D6-48DE-A2CC-7D40C762595F}" type="pres">
      <dgm:prSet presAssocID="{AE3CD50B-BCEA-4E0B-9027-23D809DA0B39}" presName="aSpace" presStyleCnt="0"/>
      <dgm:spPr/>
    </dgm:pt>
  </dgm:ptLst>
  <dgm:cxnLst>
    <dgm:cxn modelId="{7B00AF64-34E3-4FDD-AFF9-3D8E1CDF6853}" type="presOf" srcId="{AAC803C2-3371-4F4E-843A-FF856EFA9B84}" destId="{DA08CFDD-1CD2-4F4A-96CB-A615618ED626}" srcOrd="0" destOrd="0" presId="urn:microsoft.com/office/officeart/2005/8/layout/pyramid2"/>
    <dgm:cxn modelId="{921C5F89-8231-47D5-ACBF-E10D8AA74455}" type="presOf" srcId="{2F03F911-D9A4-46FF-BDD7-75D79E45033E}" destId="{263D5465-4BC6-4130-9F71-1616A361AEA1}" srcOrd="0" destOrd="0" presId="urn:microsoft.com/office/officeart/2005/8/layout/pyramid2"/>
    <dgm:cxn modelId="{2033D742-D924-42C5-9444-29DFDF3AFCA4}" srcId="{AAC803C2-3371-4F4E-843A-FF856EFA9B84}" destId="{BCBAAA97-5906-4650-920A-FA687E3A80AE}" srcOrd="0" destOrd="0" parTransId="{7BF3E49C-2252-49A0-8F37-103A71D1EF7A}" sibTransId="{540435F4-B216-428E-90FE-BFA461B2878A}"/>
    <dgm:cxn modelId="{2E90F5FF-9C49-4E1F-9F87-4C88AD366806}" type="presOf" srcId="{AE3CD50B-BCEA-4E0B-9027-23D809DA0B39}" destId="{B05DCE7F-37EC-49C7-A04F-797BB782EBB8}" srcOrd="0" destOrd="0" presId="urn:microsoft.com/office/officeart/2005/8/layout/pyramid2"/>
    <dgm:cxn modelId="{53E0F76F-E422-4759-9909-066FDCABCB93}" type="presOf" srcId="{BCBAAA97-5906-4650-920A-FA687E3A80AE}" destId="{111F3492-22C4-40F4-9280-A7981054F49D}" srcOrd="0" destOrd="0" presId="urn:microsoft.com/office/officeart/2005/8/layout/pyramid2"/>
    <dgm:cxn modelId="{5A6D10A0-F504-4AD1-80AC-25AEE4DBB72A}" srcId="{AAC803C2-3371-4F4E-843A-FF856EFA9B84}" destId="{2F03F911-D9A4-46FF-BDD7-75D79E45033E}" srcOrd="1" destOrd="0" parTransId="{59672128-46D3-4278-B4E1-9684CCB97929}" sibTransId="{486AEB6B-D633-4C1F-B563-7B2640787522}"/>
    <dgm:cxn modelId="{6EE763AC-BF0B-49AE-9B59-312806305BF0}" srcId="{AAC803C2-3371-4F4E-843A-FF856EFA9B84}" destId="{AE3CD50B-BCEA-4E0B-9027-23D809DA0B39}" srcOrd="2" destOrd="0" parTransId="{1F56626C-7B5C-46C7-8548-AC54D4F41D56}" sibTransId="{F7DD082C-73A3-4AE8-9C55-280AD01B2584}"/>
    <dgm:cxn modelId="{A5C6DFAD-8020-47B8-AC36-17D54CA8B802}" type="presParOf" srcId="{DA08CFDD-1CD2-4F4A-96CB-A615618ED626}" destId="{550FE020-0F04-4C13-989B-2F7E70ABB03D}" srcOrd="0" destOrd="0" presId="urn:microsoft.com/office/officeart/2005/8/layout/pyramid2"/>
    <dgm:cxn modelId="{63E206A7-398D-4BC6-BAE1-9FD7176DFBEE}" type="presParOf" srcId="{DA08CFDD-1CD2-4F4A-96CB-A615618ED626}" destId="{210B116A-7A07-49E7-98B5-A7321B163099}" srcOrd="1" destOrd="0" presId="urn:microsoft.com/office/officeart/2005/8/layout/pyramid2"/>
    <dgm:cxn modelId="{85279A1F-78FF-47BC-8207-AC6A7D2BB81A}" type="presParOf" srcId="{210B116A-7A07-49E7-98B5-A7321B163099}" destId="{111F3492-22C4-40F4-9280-A7981054F49D}" srcOrd="0" destOrd="0" presId="urn:microsoft.com/office/officeart/2005/8/layout/pyramid2"/>
    <dgm:cxn modelId="{27A7EB51-88CC-44B5-82F5-4737D0901E25}" type="presParOf" srcId="{210B116A-7A07-49E7-98B5-A7321B163099}" destId="{02807FE4-7E67-4D61-9AFA-2963D519953A}" srcOrd="1" destOrd="0" presId="urn:microsoft.com/office/officeart/2005/8/layout/pyramid2"/>
    <dgm:cxn modelId="{A9F87D27-E420-468E-80A0-D5960B4F22D3}" type="presParOf" srcId="{210B116A-7A07-49E7-98B5-A7321B163099}" destId="{263D5465-4BC6-4130-9F71-1616A361AEA1}" srcOrd="2" destOrd="0" presId="urn:microsoft.com/office/officeart/2005/8/layout/pyramid2"/>
    <dgm:cxn modelId="{13F59DEA-AF89-4A1F-BFAD-BD6B6C4F15AF}" type="presParOf" srcId="{210B116A-7A07-49E7-98B5-A7321B163099}" destId="{DCACCB86-3A2E-4E7C-B8EC-4640D36F9B43}" srcOrd="3" destOrd="0" presId="urn:microsoft.com/office/officeart/2005/8/layout/pyramid2"/>
    <dgm:cxn modelId="{6E10B686-111F-4E4A-9CE5-D09648B33178}" type="presParOf" srcId="{210B116A-7A07-49E7-98B5-A7321B163099}" destId="{B05DCE7F-37EC-49C7-A04F-797BB782EBB8}" srcOrd="4" destOrd="0" presId="urn:microsoft.com/office/officeart/2005/8/layout/pyramid2"/>
    <dgm:cxn modelId="{B00CE206-9699-4AFC-B882-8895F782A9BF}" type="presParOf" srcId="{210B116A-7A07-49E7-98B5-A7321B163099}" destId="{623E417F-A0D6-48DE-A2CC-7D40C762595F}" srcOrd="5" destOrd="0" presId="urn:microsoft.com/office/officeart/2005/8/layout/pyramid2"/>
  </dgm:cxnLst>
  <dgm:bg/>
  <dgm:whole>
    <a:ln>
      <a:solidFill>
        <a:schemeClr val="accent1">
          <a:lumMod val="50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C803C2-3371-4F4E-843A-FF856EFA9B84}" type="doc">
      <dgm:prSet loTypeId="urn:microsoft.com/office/officeart/2005/8/layout/pyramid2" loCatId="list" qsTypeId="urn:microsoft.com/office/officeart/2005/8/quickstyle/simple1" qsCatId="simple" csTypeId="urn:microsoft.com/office/officeart/2005/8/colors/accent5_3" csCatId="accent5" phldr="1"/>
      <dgm:spPr/>
      <dgm:t>
        <a:bodyPr/>
        <a:lstStyle/>
        <a:p>
          <a:endParaRPr lang="fr-FR"/>
        </a:p>
      </dgm:t>
    </dgm:pt>
    <dgm:pt modelId="{BCBAAA97-5906-4650-920A-FA687E3A80AE}">
      <dgm:prSet phldrT="[Texte]"/>
      <dgm:spPr>
        <a:solidFill>
          <a:schemeClr val="tx2">
            <a:alpha val="90000"/>
          </a:schemeClr>
        </a:solidFill>
      </dgm:spPr>
      <dgm:t>
        <a:bodyPr/>
        <a:lstStyle/>
        <a:p>
          <a:endParaRPr lang="fr-FR" dirty="0"/>
        </a:p>
      </dgm:t>
    </dgm:pt>
    <dgm:pt modelId="{540435F4-B216-428E-90FE-BFA461B2878A}" type="sibTrans" cxnId="{2033D742-D924-42C5-9444-29DFDF3AFCA4}">
      <dgm:prSet/>
      <dgm:spPr/>
      <dgm:t>
        <a:bodyPr/>
        <a:lstStyle/>
        <a:p>
          <a:endParaRPr lang="fr-FR"/>
        </a:p>
      </dgm:t>
    </dgm:pt>
    <dgm:pt modelId="{7BF3E49C-2252-49A0-8F37-103A71D1EF7A}" type="parTrans" cxnId="{2033D742-D924-42C5-9444-29DFDF3AFCA4}">
      <dgm:prSet/>
      <dgm:spPr/>
      <dgm:t>
        <a:bodyPr/>
        <a:lstStyle/>
        <a:p>
          <a:endParaRPr lang="fr-FR"/>
        </a:p>
      </dgm:t>
    </dgm:pt>
    <dgm:pt modelId="{2F03F911-D9A4-46FF-BDD7-75D79E45033E}">
      <dgm:prSet phldrT="[Texte]"/>
      <dgm:spPr>
        <a:solidFill>
          <a:schemeClr val="tx2">
            <a:alpha val="90000"/>
          </a:schemeClr>
        </a:solidFill>
      </dgm:spPr>
      <dgm:t>
        <a:bodyPr/>
        <a:lstStyle/>
        <a:p>
          <a:endParaRPr lang="fr-FR" dirty="0"/>
        </a:p>
      </dgm:t>
    </dgm:pt>
    <dgm:pt modelId="{59672128-46D3-4278-B4E1-9684CCB97929}" type="parTrans" cxnId="{5A6D10A0-F504-4AD1-80AC-25AEE4DBB72A}">
      <dgm:prSet/>
      <dgm:spPr/>
      <dgm:t>
        <a:bodyPr/>
        <a:lstStyle/>
        <a:p>
          <a:endParaRPr lang="fr-FR"/>
        </a:p>
      </dgm:t>
    </dgm:pt>
    <dgm:pt modelId="{486AEB6B-D633-4C1F-B563-7B2640787522}" type="sibTrans" cxnId="{5A6D10A0-F504-4AD1-80AC-25AEE4DBB72A}">
      <dgm:prSet/>
      <dgm:spPr/>
      <dgm:t>
        <a:bodyPr/>
        <a:lstStyle/>
        <a:p>
          <a:endParaRPr lang="fr-FR"/>
        </a:p>
      </dgm:t>
    </dgm:pt>
    <dgm:pt modelId="{AE3CD50B-BCEA-4E0B-9027-23D809DA0B39}">
      <dgm:prSet phldrT="[Texte]"/>
      <dgm:spPr>
        <a:solidFill>
          <a:schemeClr val="tx2">
            <a:alpha val="90000"/>
          </a:schemeClr>
        </a:solidFill>
      </dgm:spPr>
      <dgm:t>
        <a:bodyPr/>
        <a:lstStyle/>
        <a:p>
          <a:endParaRPr lang="fr-FR" dirty="0"/>
        </a:p>
      </dgm:t>
    </dgm:pt>
    <dgm:pt modelId="{1F56626C-7B5C-46C7-8548-AC54D4F41D56}" type="parTrans" cxnId="{6EE763AC-BF0B-49AE-9B59-312806305BF0}">
      <dgm:prSet/>
      <dgm:spPr/>
      <dgm:t>
        <a:bodyPr/>
        <a:lstStyle/>
        <a:p>
          <a:endParaRPr lang="fr-FR"/>
        </a:p>
      </dgm:t>
    </dgm:pt>
    <dgm:pt modelId="{F7DD082C-73A3-4AE8-9C55-280AD01B2584}" type="sibTrans" cxnId="{6EE763AC-BF0B-49AE-9B59-312806305BF0}">
      <dgm:prSet/>
      <dgm:spPr/>
      <dgm:t>
        <a:bodyPr/>
        <a:lstStyle/>
        <a:p>
          <a:endParaRPr lang="fr-FR"/>
        </a:p>
      </dgm:t>
    </dgm:pt>
    <dgm:pt modelId="{DA08CFDD-1CD2-4F4A-96CB-A615618ED626}" type="pres">
      <dgm:prSet presAssocID="{AAC803C2-3371-4F4E-843A-FF856EFA9B84}" presName="compositeShape" presStyleCnt="0">
        <dgm:presLayoutVars>
          <dgm:dir/>
          <dgm:resizeHandles/>
        </dgm:presLayoutVars>
      </dgm:prSet>
      <dgm:spPr/>
      <dgm:t>
        <a:bodyPr/>
        <a:lstStyle/>
        <a:p>
          <a:endParaRPr lang="fr-FR"/>
        </a:p>
      </dgm:t>
    </dgm:pt>
    <dgm:pt modelId="{550FE020-0F04-4C13-989B-2F7E70ABB03D}" type="pres">
      <dgm:prSet presAssocID="{AAC803C2-3371-4F4E-843A-FF856EFA9B84}" presName="pyramid" presStyleLbl="node1" presStyleIdx="0" presStyleCnt="1" custScaleX="107707" custLinFactNeighborX="-19533"/>
      <dgm:spPr>
        <a:solidFill>
          <a:srgbClr val="00206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210B116A-7A07-49E7-98B5-A7321B163099}" type="pres">
      <dgm:prSet presAssocID="{AAC803C2-3371-4F4E-843A-FF856EFA9B84}" presName="theList" presStyleCnt="0"/>
      <dgm:spPr/>
    </dgm:pt>
    <dgm:pt modelId="{111F3492-22C4-40F4-9280-A7981054F49D}" type="pres">
      <dgm:prSet presAssocID="{BCBAAA97-5906-4650-920A-FA687E3A80AE}" presName="aNode" presStyleLbl="fgAcc1" presStyleIdx="0" presStyleCnt="3" custScaleX="159957" custScaleY="28676" custLinFactNeighborX="20534" custLinFactNeighborY="25941">
        <dgm:presLayoutVars>
          <dgm:bulletEnabled val="1"/>
        </dgm:presLayoutVars>
      </dgm:prSet>
      <dgm:spPr/>
      <dgm:t>
        <a:bodyPr/>
        <a:lstStyle/>
        <a:p>
          <a:endParaRPr lang="fr-FR"/>
        </a:p>
      </dgm:t>
    </dgm:pt>
    <dgm:pt modelId="{02807FE4-7E67-4D61-9AFA-2963D519953A}" type="pres">
      <dgm:prSet presAssocID="{BCBAAA97-5906-4650-920A-FA687E3A80AE}" presName="aSpace" presStyleCnt="0"/>
      <dgm:spPr/>
    </dgm:pt>
    <dgm:pt modelId="{263D5465-4BC6-4130-9F71-1616A361AEA1}" type="pres">
      <dgm:prSet presAssocID="{2F03F911-D9A4-46FF-BDD7-75D79E45033E}" presName="aNode" presStyleLbl="fgAcc1" presStyleIdx="1" presStyleCnt="3" custScaleX="158873" custScaleY="31938" custLinFactNeighborX="18072" custLinFactNeighborY="50324">
        <dgm:presLayoutVars>
          <dgm:bulletEnabled val="1"/>
        </dgm:presLayoutVars>
      </dgm:prSet>
      <dgm:spPr/>
      <dgm:t>
        <a:bodyPr/>
        <a:lstStyle/>
        <a:p>
          <a:endParaRPr lang="fr-FR"/>
        </a:p>
      </dgm:t>
    </dgm:pt>
    <dgm:pt modelId="{DCACCB86-3A2E-4E7C-B8EC-4640D36F9B43}" type="pres">
      <dgm:prSet presAssocID="{2F03F911-D9A4-46FF-BDD7-75D79E45033E}" presName="aSpace" presStyleCnt="0"/>
      <dgm:spPr/>
    </dgm:pt>
    <dgm:pt modelId="{B05DCE7F-37EC-49C7-A04F-797BB782EBB8}" type="pres">
      <dgm:prSet presAssocID="{AE3CD50B-BCEA-4E0B-9027-23D809DA0B39}" presName="aNode" presStyleLbl="fgAcc1" presStyleIdx="2" presStyleCnt="3" custScaleX="158873" custScaleY="33284" custLinFactNeighborX="18370" custLinFactNeighborY="62700">
        <dgm:presLayoutVars>
          <dgm:bulletEnabled val="1"/>
        </dgm:presLayoutVars>
      </dgm:prSet>
      <dgm:spPr/>
      <dgm:t>
        <a:bodyPr/>
        <a:lstStyle/>
        <a:p>
          <a:endParaRPr lang="fr-FR"/>
        </a:p>
      </dgm:t>
    </dgm:pt>
    <dgm:pt modelId="{623E417F-A0D6-48DE-A2CC-7D40C762595F}" type="pres">
      <dgm:prSet presAssocID="{AE3CD50B-BCEA-4E0B-9027-23D809DA0B39}" presName="aSpace" presStyleCnt="0"/>
      <dgm:spPr/>
    </dgm:pt>
  </dgm:ptLst>
  <dgm:cxnLst>
    <dgm:cxn modelId="{2033D742-D924-42C5-9444-29DFDF3AFCA4}" srcId="{AAC803C2-3371-4F4E-843A-FF856EFA9B84}" destId="{BCBAAA97-5906-4650-920A-FA687E3A80AE}" srcOrd="0" destOrd="0" parTransId="{7BF3E49C-2252-49A0-8F37-103A71D1EF7A}" sibTransId="{540435F4-B216-428E-90FE-BFA461B2878A}"/>
    <dgm:cxn modelId="{5A68FD2B-0BA1-4BB1-BFB1-8D018D47B097}" type="presOf" srcId="{AE3CD50B-BCEA-4E0B-9027-23D809DA0B39}" destId="{B05DCE7F-37EC-49C7-A04F-797BB782EBB8}" srcOrd="0" destOrd="0" presId="urn:microsoft.com/office/officeart/2005/8/layout/pyramid2"/>
    <dgm:cxn modelId="{250EF3AC-364B-4D14-B363-9AE01195E8A9}" type="presOf" srcId="{2F03F911-D9A4-46FF-BDD7-75D79E45033E}" destId="{263D5465-4BC6-4130-9F71-1616A361AEA1}" srcOrd="0" destOrd="0" presId="urn:microsoft.com/office/officeart/2005/8/layout/pyramid2"/>
    <dgm:cxn modelId="{3DE09EDF-D1F1-4A0C-B69B-ED3FC4BAE178}" type="presOf" srcId="{BCBAAA97-5906-4650-920A-FA687E3A80AE}" destId="{111F3492-22C4-40F4-9280-A7981054F49D}" srcOrd="0" destOrd="0" presId="urn:microsoft.com/office/officeart/2005/8/layout/pyramid2"/>
    <dgm:cxn modelId="{3CA62C8B-9542-441E-B36A-43CD393305BD}" type="presOf" srcId="{AAC803C2-3371-4F4E-843A-FF856EFA9B84}" destId="{DA08CFDD-1CD2-4F4A-96CB-A615618ED626}" srcOrd="0" destOrd="0" presId="urn:microsoft.com/office/officeart/2005/8/layout/pyramid2"/>
    <dgm:cxn modelId="{5A6D10A0-F504-4AD1-80AC-25AEE4DBB72A}" srcId="{AAC803C2-3371-4F4E-843A-FF856EFA9B84}" destId="{2F03F911-D9A4-46FF-BDD7-75D79E45033E}" srcOrd="1" destOrd="0" parTransId="{59672128-46D3-4278-B4E1-9684CCB97929}" sibTransId="{486AEB6B-D633-4C1F-B563-7B2640787522}"/>
    <dgm:cxn modelId="{6EE763AC-BF0B-49AE-9B59-312806305BF0}" srcId="{AAC803C2-3371-4F4E-843A-FF856EFA9B84}" destId="{AE3CD50B-BCEA-4E0B-9027-23D809DA0B39}" srcOrd="2" destOrd="0" parTransId="{1F56626C-7B5C-46C7-8548-AC54D4F41D56}" sibTransId="{F7DD082C-73A3-4AE8-9C55-280AD01B2584}"/>
    <dgm:cxn modelId="{C417CBDB-2E71-49AA-B352-A9B3DAAC1555}" type="presParOf" srcId="{DA08CFDD-1CD2-4F4A-96CB-A615618ED626}" destId="{550FE020-0F04-4C13-989B-2F7E70ABB03D}" srcOrd="0" destOrd="0" presId="urn:microsoft.com/office/officeart/2005/8/layout/pyramid2"/>
    <dgm:cxn modelId="{A4E3F3C1-0C66-4C3F-A887-C4790B0ADF43}" type="presParOf" srcId="{DA08CFDD-1CD2-4F4A-96CB-A615618ED626}" destId="{210B116A-7A07-49E7-98B5-A7321B163099}" srcOrd="1" destOrd="0" presId="urn:microsoft.com/office/officeart/2005/8/layout/pyramid2"/>
    <dgm:cxn modelId="{817E41E2-918A-4B95-9D45-E6A938C1895F}" type="presParOf" srcId="{210B116A-7A07-49E7-98B5-A7321B163099}" destId="{111F3492-22C4-40F4-9280-A7981054F49D}" srcOrd="0" destOrd="0" presId="urn:microsoft.com/office/officeart/2005/8/layout/pyramid2"/>
    <dgm:cxn modelId="{3C794CE4-7A49-40E2-9EF8-4D184EE52F36}" type="presParOf" srcId="{210B116A-7A07-49E7-98B5-A7321B163099}" destId="{02807FE4-7E67-4D61-9AFA-2963D519953A}" srcOrd="1" destOrd="0" presId="urn:microsoft.com/office/officeart/2005/8/layout/pyramid2"/>
    <dgm:cxn modelId="{E9BDE597-0B84-4DF2-A8B4-E95E305CF47C}" type="presParOf" srcId="{210B116A-7A07-49E7-98B5-A7321B163099}" destId="{263D5465-4BC6-4130-9F71-1616A361AEA1}" srcOrd="2" destOrd="0" presId="urn:microsoft.com/office/officeart/2005/8/layout/pyramid2"/>
    <dgm:cxn modelId="{337F8DFF-901D-4D3F-9E53-B77A8D7F5E6C}" type="presParOf" srcId="{210B116A-7A07-49E7-98B5-A7321B163099}" destId="{DCACCB86-3A2E-4E7C-B8EC-4640D36F9B43}" srcOrd="3" destOrd="0" presId="urn:microsoft.com/office/officeart/2005/8/layout/pyramid2"/>
    <dgm:cxn modelId="{DFD0DEFD-CE86-4076-83F3-1BFDADE59DF5}" type="presParOf" srcId="{210B116A-7A07-49E7-98B5-A7321B163099}" destId="{B05DCE7F-37EC-49C7-A04F-797BB782EBB8}" srcOrd="4" destOrd="0" presId="urn:microsoft.com/office/officeart/2005/8/layout/pyramid2"/>
    <dgm:cxn modelId="{184ADF43-9992-46D0-A838-F0086B40DB91}" type="presParOf" srcId="{210B116A-7A07-49E7-98B5-A7321B163099}" destId="{623E417F-A0D6-48DE-A2CC-7D40C762595F}" srcOrd="5" destOrd="0" presId="urn:microsoft.com/office/officeart/2005/8/layout/pyramid2"/>
  </dgm:cxnLst>
  <dgm:bg/>
  <dgm:whole>
    <a:ln>
      <a:solidFill>
        <a:schemeClr val="accent1">
          <a:lumMod val="50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FE020-0F04-4C13-989B-2F7E70ABB03D}">
      <dsp:nvSpPr>
        <dsp:cNvPr id="0" name=""/>
        <dsp:cNvSpPr/>
      </dsp:nvSpPr>
      <dsp:spPr>
        <a:xfrm>
          <a:off x="0" y="0"/>
          <a:ext cx="5584151" cy="5184576"/>
        </a:xfrm>
        <a:prstGeom prst="triangle">
          <a:avLst/>
        </a:prstGeom>
        <a:solidFill>
          <a:srgbClr val="002060"/>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sp>
    <dsp:sp modelId="{111F3492-22C4-40F4-9280-A7981054F49D}">
      <dsp:nvSpPr>
        <dsp:cNvPr id="0" name=""/>
        <dsp:cNvSpPr/>
      </dsp:nvSpPr>
      <dsp:spPr>
        <a:xfrm>
          <a:off x="3034426" y="621601"/>
          <a:ext cx="5390509" cy="904813"/>
        </a:xfrm>
        <a:prstGeom prst="roundRect">
          <a:avLst/>
        </a:prstGeom>
        <a:solidFill>
          <a:schemeClr val="tx2">
            <a:alpha val="9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endParaRPr lang="fr-FR" sz="3700" kern="1200" dirty="0"/>
        </a:p>
      </dsp:txBody>
      <dsp:txXfrm>
        <a:off x="3078595" y="665770"/>
        <a:ext cx="5302171" cy="816475"/>
      </dsp:txXfrm>
    </dsp:sp>
    <dsp:sp modelId="{263D5465-4BC6-4130-9F71-1616A361AEA1}">
      <dsp:nvSpPr>
        <dsp:cNvPr id="0" name=""/>
        <dsp:cNvSpPr/>
      </dsp:nvSpPr>
      <dsp:spPr>
        <a:xfrm>
          <a:off x="3035403" y="2016997"/>
          <a:ext cx="5353979" cy="1007739"/>
        </a:xfrm>
        <a:prstGeom prst="roundRect">
          <a:avLst/>
        </a:prstGeom>
        <a:solidFill>
          <a:schemeClr val="tx2">
            <a:alpha val="90000"/>
          </a:schemeClr>
        </a:solidFill>
        <a:ln w="25400" cap="flat" cmpd="sng" algn="ctr">
          <a:solidFill>
            <a:schemeClr val="accent5">
              <a:shade val="80000"/>
              <a:hueOff val="60195"/>
              <a:satOff val="2560"/>
              <a:lumOff val="948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0020" tIns="160020" rIns="160020" bIns="160020" numCol="1" spcCol="1270" anchor="ctr" anchorCtr="0">
          <a:noAutofit/>
        </a:bodyPr>
        <a:lstStyle/>
        <a:p>
          <a:pPr lvl="0" algn="ctr" defTabSz="1866900">
            <a:lnSpc>
              <a:spcPct val="90000"/>
            </a:lnSpc>
            <a:spcBef>
              <a:spcPct val="0"/>
            </a:spcBef>
            <a:spcAft>
              <a:spcPct val="35000"/>
            </a:spcAft>
          </a:pPr>
          <a:endParaRPr lang="fr-FR" sz="4200" kern="1200" dirty="0"/>
        </a:p>
      </dsp:txBody>
      <dsp:txXfrm>
        <a:off x="3084597" y="2066191"/>
        <a:ext cx="5255591" cy="909351"/>
      </dsp:txXfrm>
    </dsp:sp>
    <dsp:sp modelId="{B05DCE7F-37EC-49C7-A04F-797BB782EBB8}">
      <dsp:nvSpPr>
        <dsp:cNvPr id="0" name=""/>
        <dsp:cNvSpPr/>
      </dsp:nvSpPr>
      <dsp:spPr>
        <a:xfrm>
          <a:off x="3045446" y="3467962"/>
          <a:ext cx="5353979" cy="1050210"/>
        </a:xfrm>
        <a:prstGeom prst="roundRect">
          <a:avLst/>
        </a:prstGeom>
        <a:solidFill>
          <a:schemeClr val="tx2">
            <a:alpha val="90000"/>
          </a:schemeClr>
        </a:solidFill>
        <a:ln w="25400" cap="flat" cmpd="sng" algn="ctr">
          <a:solidFill>
            <a:schemeClr val="accent5">
              <a:shade val="80000"/>
              <a:hueOff val="120391"/>
              <a:satOff val="5120"/>
              <a:lumOff val="18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3830" tIns="163830" rIns="163830" bIns="163830" numCol="1" spcCol="1270" anchor="ctr" anchorCtr="0">
          <a:noAutofit/>
        </a:bodyPr>
        <a:lstStyle/>
        <a:p>
          <a:pPr lvl="0" algn="ctr" defTabSz="1911350">
            <a:lnSpc>
              <a:spcPct val="90000"/>
            </a:lnSpc>
            <a:spcBef>
              <a:spcPct val="0"/>
            </a:spcBef>
            <a:spcAft>
              <a:spcPct val="35000"/>
            </a:spcAft>
          </a:pPr>
          <a:endParaRPr lang="fr-FR" sz="4300" kern="1200" dirty="0"/>
        </a:p>
      </dsp:txBody>
      <dsp:txXfrm>
        <a:off x="3096713" y="3519229"/>
        <a:ext cx="5251445" cy="9476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FE020-0F04-4C13-989B-2F7E70ABB03D}">
      <dsp:nvSpPr>
        <dsp:cNvPr id="0" name=""/>
        <dsp:cNvSpPr/>
      </dsp:nvSpPr>
      <dsp:spPr>
        <a:xfrm>
          <a:off x="0" y="0"/>
          <a:ext cx="5584151" cy="5184576"/>
        </a:xfrm>
        <a:prstGeom prst="triangle">
          <a:avLst/>
        </a:prstGeom>
        <a:solidFill>
          <a:srgbClr val="002060"/>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sp>
    <dsp:sp modelId="{111F3492-22C4-40F4-9280-A7981054F49D}">
      <dsp:nvSpPr>
        <dsp:cNvPr id="0" name=""/>
        <dsp:cNvSpPr/>
      </dsp:nvSpPr>
      <dsp:spPr>
        <a:xfrm>
          <a:off x="3034426" y="621601"/>
          <a:ext cx="5390509" cy="904813"/>
        </a:xfrm>
        <a:prstGeom prst="roundRect">
          <a:avLst/>
        </a:prstGeom>
        <a:solidFill>
          <a:schemeClr val="tx2">
            <a:alpha val="9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endParaRPr lang="fr-FR" sz="3700" kern="1200" dirty="0"/>
        </a:p>
      </dsp:txBody>
      <dsp:txXfrm>
        <a:off x="3078595" y="665770"/>
        <a:ext cx="5302171" cy="816475"/>
      </dsp:txXfrm>
    </dsp:sp>
    <dsp:sp modelId="{263D5465-4BC6-4130-9F71-1616A361AEA1}">
      <dsp:nvSpPr>
        <dsp:cNvPr id="0" name=""/>
        <dsp:cNvSpPr/>
      </dsp:nvSpPr>
      <dsp:spPr>
        <a:xfrm>
          <a:off x="3035403" y="2016997"/>
          <a:ext cx="5353979" cy="1007739"/>
        </a:xfrm>
        <a:prstGeom prst="roundRect">
          <a:avLst/>
        </a:prstGeom>
        <a:solidFill>
          <a:schemeClr val="tx2">
            <a:alpha val="90000"/>
          </a:schemeClr>
        </a:solidFill>
        <a:ln w="25400" cap="flat" cmpd="sng" algn="ctr">
          <a:solidFill>
            <a:schemeClr val="accent5">
              <a:shade val="80000"/>
              <a:hueOff val="60195"/>
              <a:satOff val="2560"/>
              <a:lumOff val="948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0020" tIns="160020" rIns="160020" bIns="160020" numCol="1" spcCol="1270" anchor="ctr" anchorCtr="0">
          <a:noAutofit/>
        </a:bodyPr>
        <a:lstStyle/>
        <a:p>
          <a:pPr lvl="0" algn="ctr" defTabSz="1866900">
            <a:lnSpc>
              <a:spcPct val="90000"/>
            </a:lnSpc>
            <a:spcBef>
              <a:spcPct val="0"/>
            </a:spcBef>
            <a:spcAft>
              <a:spcPct val="35000"/>
            </a:spcAft>
          </a:pPr>
          <a:endParaRPr lang="fr-FR" sz="4200" kern="1200" dirty="0"/>
        </a:p>
      </dsp:txBody>
      <dsp:txXfrm>
        <a:off x="3084597" y="2066191"/>
        <a:ext cx="5255591" cy="909351"/>
      </dsp:txXfrm>
    </dsp:sp>
    <dsp:sp modelId="{B05DCE7F-37EC-49C7-A04F-797BB782EBB8}">
      <dsp:nvSpPr>
        <dsp:cNvPr id="0" name=""/>
        <dsp:cNvSpPr/>
      </dsp:nvSpPr>
      <dsp:spPr>
        <a:xfrm>
          <a:off x="3045446" y="3467962"/>
          <a:ext cx="5353979" cy="1050210"/>
        </a:xfrm>
        <a:prstGeom prst="roundRect">
          <a:avLst/>
        </a:prstGeom>
        <a:solidFill>
          <a:schemeClr val="tx2">
            <a:alpha val="90000"/>
          </a:schemeClr>
        </a:solidFill>
        <a:ln w="25400" cap="flat" cmpd="sng" algn="ctr">
          <a:solidFill>
            <a:schemeClr val="accent5">
              <a:shade val="80000"/>
              <a:hueOff val="120391"/>
              <a:satOff val="5120"/>
              <a:lumOff val="18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3830" tIns="163830" rIns="163830" bIns="163830" numCol="1" spcCol="1270" anchor="ctr" anchorCtr="0">
          <a:noAutofit/>
        </a:bodyPr>
        <a:lstStyle/>
        <a:p>
          <a:pPr lvl="0" algn="ctr" defTabSz="1911350">
            <a:lnSpc>
              <a:spcPct val="90000"/>
            </a:lnSpc>
            <a:spcBef>
              <a:spcPct val="0"/>
            </a:spcBef>
            <a:spcAft>
              <a:spcPct val="35000"/>
            </a:spcAft>
          </a:pPr>
          <a:endParaRPr lang="fr-FR" sz="4300" kern="1200" dirty="0"/>
        </a:p>
      </dsp:txBody>
      <dsp:txXfrm>
        <a:off x="3096713" y="3519229"/>
        <a:ext cx="5251445" cy="9476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0FE020-0F04-4C13-989B-2F7E70ABB03D}">
      <dsp:nvSpPr>
        <dsp:cNvPr id="0" name=""/>
        <dsp:cNvSpPr/>
      </dsp:nvSpPr>
      <dsp:spPr>
        <a:xfrm>
          <a:off x="0" y="0"/>
          <a:ext cx="5584151" cy="5184576"/>
        </a:xfrm>
        <a:prstGeom prst="triangle">
          <a:avLst/>
        </a:prstGeom>
        <a:solidFill>
          <a:srgbClr val="002060"/>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sp>
    <dsp:sp modelId="{111F3492-22C4-40F4-9280-A7981054F49D}">
      <dsp:nvSpPr>
        <dsp:cNvPr id="0" name=""/>
        <dsp:cNvSpPr/>
      </dsp:nvSpPr>
      <dsp:spPr>
        <a:xfrm>
          <a:off x="3034426" y="621601"/>
          <a:ext cx="5390509" cy="904813"/>
        </a:xfrm>
        <a:prstGeom prst="roundRect">
          <a:avLst/>
        </a:prstGeom>
        <a:solidFill>
          <a:schemeClr val="tx2">
            <a:alpha val="9000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endParaRPr lang="fr-FR" sz="3700" kern="1200" dirty="0"/>
        </a:p>
      </dsp:txBody>
      <dsp:txXfrm>
        <a:off x="3078595" y="665770"/>
        <a:ext cx="5302171" cy="816475"/>
      </dsp:txXfrm>
    </dsp:sp>
    <dsp:sp modelId="{263D5465-4BC6-4130-9F71-1616A361AEA1}">
      <dsp:nvSpPr>
        <dsp:cNvPr id="0" name=""/>
        <dsp:cNvSpPr/>
      </dsp:nvSpPr>
      <dsp:spPr>
        <a:xfrm>
          <a:off x="3035403" y="2016997"/>
          <a:ext cx="5353979" cy="1007739"/>
        </a:xfrm>
        <a:prstGeom prst="roundRect">
          <a:avLst/>
        </a:prstGeom>
        <a:solidFill>
          <a:schemeClr val="tx2">
            <a:alpha val="90000"/>
          </a:schemeClr>
        </a:solidFill>
        <a:ln w="25400" cap="flat" cmpd="sng" algn="ctr">
          <a:solidFill>
            <a:schemeClr val="accent5">
              <a:shade val="80000"/>
              <a:hueOff val="60195"/>
              <a:satOff val="2560"/>
              <a:lumOff val="948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0020" tIns="160020" rIns="160020" bIns="160020" numCol="1" spcCol="1270" anchor="ctr" anchorCtr="0">
          <a:noAutofit/>
        </a:bodyPr>
        <a:lstStyle/>
        <a:p>
          <a:pPr lvl="0" algn="ctr" defTabSz="1866900">
            <a:lnSpc>
              <a:spcPct val="90000"/>
            </a:lnSpc>
            <a:spcBef>
              <a:spcPct val="0"/>
            </a:spcBef>
            <a:spcAft>
              <a:spcPct val="35000"/>
            </a:spcAft>
          </a:pPr>
          <a:endParaRPr lang="fr-FR" sz="4200" kern="1200" dirty="0"/>
        </a:p>
      </dsp:txBody>
      <dsp:txXfrm>
        <a:off x="3084597" y="2066191"/>
        <a:ext cx="5255591" cy="909351"/>
      </dsp:txXfrm>
    </dsp:sp>
    <dsp:sp modelId="{B05DCE7F-37EC-49C7-A04F-797BB782EBB8}">
      <dsp:nvSpPr>
        <dsp:cNvPr id="0" name=""/>
        <dsp:cNvSpPr/>
      </dsp:nvSpPr>
      <dsp:spPr>
        <a:xfrm>
          <a:off x="3045446" y="3467962"/>
          <a:ext cx="5353979" cy="1050210"/>
        </a:xfrm>
        <a:prstGeom prst="roundRect">
          <a:avLst/>
        </a:prstGeom>
        <a:solidFill>
          <a:schemeClr val="tx2">
            <a:alpha val="90000"/>
          </a:schemeClr>
        </a:solidFill>
        <a:ln w="25400" cap="flat" cmpd="sng" algn="ctr">
          <a:solidFill>
            <a:schemeClr val="accent5">
              <a:shade val="80000"/>
              <a:hueOff val="120391"/>
              <a:satOff val="5120"/>
              <a:lumOff val="189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3830" tIns="163830" rIns="163830" bIns="163830" numCol="1" spcCol="1270" anchor="ctr" anchorCtr="0">
          <a:noAutofit/>
        </a:bodyPr>
        <a:lstStyle/>
        <a:p>
          <a:pPr lvl="0" algn="ctr" defTabSz="1911350">
            <a:lnSpc>
              <a:spcPct val="90000"/>
            </a:lnSpc>
            <a:spcBef>
              <a:spcPct val="0"/>
            </a:spcBef>
            <a:spcAft>
              <a:spcPct val="35000"/>
            </a:spcAft>
          </a:pPr>
          <a:endParaRPr lang="fr-FR" sz="4300" kern="1200" dirty="0"/>
        </a:p>
      </dsp:txBody>
      <dsp:txXfrm>
        <a:off x="3096713" y="3519229"/>
        <a:ext cx="5251445" cy="947676"/>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6.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a:lvl1pPr>
          </a:lstStyle>
          <a:p>
            <a:pPr>
              <a:defRPr/>
            </a:pPr>
            <a:endParaRPr lang="fr-FR"/>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eaLnBrk="1" hangingPunct="1">
              <a:defRPr sz="1200"/>
            </a:lvl1pPr>
          </a:lstStyle>
          <a:p>
            <a:pPr>
              <a:defRPr/>
            </a:pPr>
            <a:fld id="{DE65DF3D-AA2A-460A-834A-BE9D0FC4D86D}" type="datetimeFigureOut">
              <a:rPr lang="fr-FR"/>
              <a:pPr>
                <a:defRPr/>
              </a:pPr>
              <a:t>27/09/2018</a:t>
            </a:fld>
            <a:endParaRPr lang="fr-FR"/>
          </a:p>
        </p:txBody>
      </p:sp>
      <p:sp>
        <p:nvSpPr>
          <p:cNvPr id="4" name="Espace réservé du pied de page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eaLnBrk="1" hangingPunct="1">
              <a:defRPr sz="1200"/>
            </a:lvl1pPr>
          </a:lstStyle>
          <a:p>
            <a:pPr>
              <a:defRPr/>
            </a:pPr>
            <a:endParaRPr lang="fr-FR"/>
          </a:p>
        </p:txBody>
      </p:sp>
      <p:sp>
        <p:nvSpPr>
          <p:cNvPr id="5" name="Espace réservé du numéro de diapositive 4"/>
          <p:cNvSpPr>
            <a:spLocks noGrp="1"/>
          </p:cNvSpPr>
          <p:nvPr>
            <p:ph type="sldNum" sz="quarter" idx="3"/>
          </p:nvPr>
        </p:nvSpPr>
        <p:spPr>
          <a:xfrm>
            <a:off x="3849688" y="9429750"/>
            <a:ext cx="2946400"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E1C2B926-BE8D-48DC-9A31-6CED39485BF6}" type="slidenum">
              <a:rPr lang="fr-FR" altLang="fr-FR"/>
              <a:pPr>
                <a:defRPr/>
              </a:pPr>
              <a:t>‹N°›</a:t>
            </a:fld>
            <a:endParaRPr lang="fr-FR" altLang="fr-FR"/>
          </a:p>
        </p:txBody>
      </p:sp>
    </p:spTree>
    <p:extLst>
      <p:ext uri="{BB962C8B-B14F-4D97-AF65-F5344CB8AC3E}">
        <p14:creationId xmlns:p14="http://schemas.microsoft.com/office/powerpoint/2010/main" val="8710116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a:latin typeface="Arial" charset="0"/>
                <a:cs typeface="Arial" charset="0"/>
              </a:defRPr>
            </a:lvl1pPr>
          </a:lstStyle>
          <a:p>
            <a:pPr>
              <a:defRPr/>
            </a:pPr>
            <a:endParaRPr lang="fr-FR"/>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eaLnBrk="1" hangingPunct="1">
              <a:defRPr sz="1200">
                <a:latin typeface="Arial" charset="0"/>
                <a:cs typeface="Arial" charset="0"/>
              </a:defRPr>
            </a:lvl1pPr>
          </a:lstStyle>
          <a:p>
            <a:pPr>
              <a:defRPr/>
            </a:pPr>
            <a:fld id="{F868DA5A-8D80-45F3-80F7-0D1D1D14BD87}" type="datetimeFigureOut">
              <a:rPr lang="fr-FR"/>
              <a:pPr>
                <a:defRPr/>
              </a:pPr>
              <a:t>27/09/2018</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fr-FR" noProof="0" smtClean="0"/>
          </a:p>
        </p:txBody>
      </p:sp>
      <p:sp>
        <p:nvSpPr>
          <p:cNvPr id="5" name="Espace réservé des commentaires 4"/>
          <p:cNvSpPr>
            <a:spLocks noGrp="1"/>
          </p:cNvSpPr>
          <p:nvPr>
            <p:ph type="body" sz="quarter" idx="3"/>
          </p:nvPr>
        </p:nvSpPr>
        <p:spPr>
          <a:xfrm>
            <a:off x="679450" y="4716463"/>
            <a:ext cx="5438775" cy="4467225"/>
          </a:xfrm>
          <a:prstGeom prst="rect">
            <a:avLst/>
          </a:prstGeom>
        </p:spPr>
        <p:txBody>
          <a:bodyPr vert="horz" lIns="91440" tIns="45720" rIns="91440" bIns="45720" rtlCol="0">
            <a:normAutofit/>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6" name="Espace réservé du pied de page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eaLnBrk="1" hangingPunct="1">
              <a:defRPr sz="1200">
                <a:latin typeface="Arial" charset="0"/>
                <a:cs typeface="Arial" charset="0"/>
              </a:defRPr>
            </a:lvl1pPr>
          </a:lstStyle>
          <a:p>
            <a:pPr>
              <a:defRPr/>
            </a:pPr>
            <a:endParaRPr lang="fr-FR"/>
          </a:p>
        </p:txBody>
      </p:sp>
      <p:sp>
        <p:nvSpPr>
          <p:cNvPr id="7" name="Espace réservé du numéro de diapositive 6"/>
          <p:cNvSpPr>
            <a:spLocks noGrp="1"/>
          </p:cNvSpPr>
          <p:nvPr>
            <p:ph type="sldNum" sz="quarter" idx="5"/>
          </p:nvPr>
        </p:nvSpPr>
        <p:spPr>
          <a:xfrm>
            <a:off x="3849688" y="9429750"/>
            <a:ext cx="2946400"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EEE68084-1933-4700-899F-A54F0A6F24E0}" type="slidenum">
              <a:rPr lang="fr-FR" altLang="fr-FR"/>
              <a:pPr>
                <a:defRPr/>
              </a:pPr>
              <a:t>‹N°›</a:t>
            </a:fld>
            <a:endParaRPr lang="fr-FR" altLang="fr-FR"/>
          </a:p>
        </p:txBody>
      </p:sp>
    </p:spTree>
    <p:extLst>
      <p:ext uri="{BB962C8B-B14F-4D97-AF65-F5344CB8AC3E}">
        <p14:creationId xmlns:p14="http://schemas.microsoft.com/office/powerpoint/2010/main" val="24535624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fr-FR" smtClean="0"/>
              <a:t>Thank you very much Mr ……. for the introduction.</a:t>
            </a:r>
            <a:endParaRPr lang="fr-FR" altLang="fr-FR" smtClean="0"/>
          </a:p>
          <a:p>
            <a:r>
              <a:rPr lang="en-GB" altLang="fr-FR" smtClean="0"/>
              <a:t>Very good morning everyone,</a:t>
            </a:r>
            <a:endParaRPr lang="fr-FR" altLang="fr-FR" smtClean="0"/>
          </a:p>
          <a:p>
            <a:r>
              <a:rPr lang="en-GB" altLang="fr-FR" smtClean="0"/>
              <a:t>I would like, first of all, to thank the Tunisian British Chamber of Commerce for inviting me to join you today and to congratulate all involved parties, especially the Embassy of Tunisia here in London and the Department of International Trade for bringing together so many companies to the Conference. </a:t>
            </a:r>
          </a:p>
          <a:p>
            <a:r>
              <a:rPr lang="en-GB" altLang="fr-FR" smtClean="0"/>
              <a:t>You have heard much valuable information from previous speakers about the </a:t>
            </a:r>
            <a:r>
              <a:rPr lang="en-GB" altLang="fr-FR" smtClean="0">
                <a:solidFill>
                  <a:srgbClr val="000000"/>
                </a:solidFill>
              </a:rPr>
              <a:t>current political and economic situation in Tunisia</a:t>
            </a:r>
            <a:r>
              <a:rPr lang="en-GB" altLang="fr-FR" smtClean="0"/>
              <a:t>.</a:t>
            </a:r>
            <a:endParaRPr lang="fr-FR" altLang="fr-FR" smtClean="0"/>
          </a:p>
          <a:p>
            <a:r>
              <a:rPr lang="en-GB" altLang="fr-FR" smtClean="0"/>
              <a:t>So during the next ten minutes or so, I will be talking about </a:t>
            </a:r>
            <a:r>
              <a:rPr lang="en-GB" altLang="fr-FR" u="sng" smtClean="0"/>
              <a:t>‘</a:t>
            </a:r>
            <a:r>
              <a:rPr lang="fr-FR" altLang="fr-FR" u="sng" smtClean="0"/>
              <a:t>Why to invest in Tunisia? Why now?’</a:t>
            </a:r>
            <a:endParaRPr lang="fr-FR" altLang="fr-FR" smtClean="0"/>
          </a:p>
          <a:p>
            <a:r>
              <a:rPr lang="en-US" altLang="fr-FR" smtClean="0"/>
              <a:t> </a:t>
            </a:r>
            <a:endParaRPr lang="fr-FR" altLang="fr-FR" smtClean="0"/>
          </a:p>
          <a:p>
            <a:endParaRPr lang="fr-FR" altLang="fr-FR" smtClean="0"/>
          </a:p>
          <a:p>
            <a:r>
              <a:rPr lang="en-US" altLang="fr-FR" smtClean="0"/>
              <a:t> </a:t>
            </a:r>
            <a:endParaRPr lang="fr-FR" altLang="fr-FR" smtClean="0"/>
          </a:p>
          <a:p>
            <a:endParaRPr lang="fr-FR" altLang="fr-FR" smtClean="0"/>
          </a:p>
          <a:p>
            <a:endParaRPr lang="fr-FR" altLang="fr-FR" smtClean="0"/>
          </a:p>
        </p:txBody>
      </p:sp>
      <p:sp>
        <p:nvSpPr>
          <p:cNvPr id="148484"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97F4CD0-615A-4B26-9830-E22DF9232D52}" type="slidenum">
              <a:rPr lang="fr-FR" altLang="fr-FR" smtClean="0">
                <a:solidFill>
                  <a:srgbClr val="000000"/>
                </a:solidFill>
              </a:rPr>
              <a:pPr/>
              <a:t>1</a:t>
            </a:fld>
            <a:endParaRPr lang="fr-FR" altLang="fr-FR" smtClean="0">
              <a:solidFill>
                <a:srgbClr val="000000"/>
              </a:solidFill>
            </a:endParaRPr>
          </a:p>
        </p:txBody>
      </p:sp>
    </p:spTree>
    <p:extLst>
      <p:ext uri="{BB962C8B-B14F-4D97-AF65-F5344CB8AC3E}">
        <p14:creationId xmlns:p14="http://schemas.microsoft.com/office/powerpoint/2010/main" val="2529910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896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smtClean="0"/>
              <a:t>Tunisia possesses enormous assets that make a brighter future possible. The location, culture and language place Tunisia as a vital link between Europe and Africa. </a:t>
            </a:r>
            <a:endParaRPr lang="fr-FR" altLang="fr-FR" smtClean="0"/>
          </a:p>
        </p:txBody>
      </p:sp>
      <p:sp>
        <p:nvSpPr>
          <p:cNvPr id="168964"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0E93678-C25E-4CD2-A130-96848BA891D0}" type="slidenum">
              <a:rPr lang="fr-FR" altLang="fr-FR" smtClean="0"/>
              <a:pPr/>
              <a:t>10</a:t>
            </a:fld>
            <a:endParaRPr lang="fr-FR" altLang="fr-FR" smtClean="0"/>
          </a:p>
        </p:txBody>
      </p:sp>
    </p:spTree>
    <p:extLst>
      <p:ext uri="{BB962C8B-B14F-4D97-AF65-F5344CB8AC3E}">
        <p14:creationId xmlns:p14="http://schemas.microsoft.com/office/powerpoint/2010/main" val="1701241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1011" name="Espace réservé des commentaires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smtClean="0"/>
              <a:t>Its characterized by its competitive economy. In fact, our country has fared well in the Doing Business Ranking (2016) which ranked Tunisia 1</a:t>
            </a:r>
            <a:r>
              <a:rPr lang="en-US" baseline="30000" dirty="0" smtClean="0"/>
              <a:t>st</a:t>
            </a:r>
            <a:r>
              <a:rPr lang="en-US" dirty="0" smtClean="0"/>
              <a:t> in Maghreb, the 5</a:t>
            </a:r>
            <a:r>
              <a:rPr lang="en-US" baseline="30000" dirty="0" smtClean="0"/>
              <a:t>th</a:t>
            </a:r>
            <a:r>
              <a:rPr lang="en-US" dirty="0" smtClean="0"/>
              <a:t> in Africa and the 5</a:t>
            </a:r>
            <a:r>
              <a:rPr lang="en-US" baseline="30000" dirty="0" smtClean="0"/>
              <a:t>th</a:t>
            </a:r>
            <a:r>
              <a:rPr lang="en-US" dirty="0" smtClean="0"/>
              <a:t> in MENA,</a:t>
            </a:r>
          </a:p>
          <a:p>
            <a:pPr>
              <a:defRPr/>
            </a:pPr>
            <a:r>
              <a:rPr lang="en-US" dirty="0" smtClean="0"/>
              <a:t>It is also ranked 1</a:t>
            </a:r>
            <a:r>
              <a:rPr lang="en-US" baseline="30000" dirty="0" smtClean="0"/>
              <a:t>st</a:t>
            </a:r>
            <a:r>
              <a:rPr lang="en-US" dirty="0" smtClean="0"/>
              <a:t> in terms of:</a:t>
            </a:r>
          </a:p>
          <a:p>
            <a:pPr marL="285750" indent="-285750">
              <a:buClr>
                <a:srgbClr val="C00000"/>
              </a:buClr>
              <a:buFont typeface="Arial" pitchFamily="34" charset="0"/>
              <a:buChar char="•"/>
              <a:defRPr/>
            </a:pPr>
            <a:r>
              <a:rPr lang="fr-FR" b="1" dirty="0" smtClean="0">
                <a:solidFill>
                  <a:srgbClr val="000000"/>
                </a:solidFill>
              </a:rPr>
              <a:t>Innovation | </a:t>
            </a:r>
            <a:r>
              <a:rPr lang="fr-FR" dirty="0" smtClean="0">
                <a:solidFill>
                  <a:srgbClr val="000000"/>
                </a:solidFill>
              </a:rPr>
              <a:t>"Bloomberg Innovation Index 2017, Bloomberg"</a:t>
            </a:r>
          </a:p>
          <a:p>
            <a:pPr marL="285750" indent="-285750">
              <a:buClr>
                <a:srgbClr val="C00000"/>
              </a:buClr>
              <a:buFont typeface="Arial" pitchFamily="34" charset="0"/>
              <a:buChar char="•"/>
              <a:defRPr/>
            </a:pPr>
            <a:r>
              <a:rPr lang="fr-FR" b="1" dirty="0" err="1" smtClean="0">
                <a:solidFill>
                  <a:srgbClr val="000000"/>
                </a:solidFill>
              </a:rPr>
              <a:t>Competitive</a:t>
            </a:r>
            <a:r>
              <a:rPr lang="fr-FR" b="1" dirty="0" smtClean="0">
                <a:solidFill>
                  <a:srgbClr val="000000"/>
                </a:solidFill>
              </a:rPr>
              <a:t> </a:t>
            </a:r>
            <a:r>
              <a:rPr lang="fr-FR" b="1" dirty="0" err="1" smtClean="0">
                <a:solidFill>
                  <a:srgbClr val="000000"/>
                </a:solidFill>
              </a:rPr>
              <a:t>Industrial</a:t>
            </a:r>
            <a:r>
              <a:rPr lang="fr-FR" b="1" dirty="0" smtClean="0">
                <a:solidFill>
                  <a:srgbClr val="000000"/>
                </a:solidFill>
              </a:rPr>
              <a:t> Performance | "</a:t>
            </a:r>
            <a:r>
              <a:rPr lang="fr-FR" dirty="0" err="1" smtClean="0">
                <a:solidFill>
                  <a:srgbClr val="000000"/>
                </a:solidFill>
              </a:rPr>
              <a:t>Competitive</a:t>
            </a:r>
            <a:r>
              <a:rPr lang="fr-FR" dirty="0" smtClean="0">
                <a:solidFill>
                  <a:srgbClr val="000000"/>
                </a:solidFill>
              </a:rPr>
              <a:t> </a:t>
            </a:r>
            <a:r>
              <a:rPr lang="fr-FR" dirty="0" err="1" smtClean="0">
                <a:solidFill>
                  <a:srgbClr val="000000"/>
                </a:solidFill>
              </a:rPr>
              <a:t>Industrial</a:t>
            </a:r>
            <a:r>
              <a:rPr lang="fr-FR" dirty="0" smtClean="0">
                <a:solidFill>
                  <a:srgbClr val="000000"/>
                </a:solidFill>
              </a:rPr>
              <a:t> Performance Index 2016, UNIDO"</a:t>
            </a:r>
          </a:p>
          <a:p>
            <a:pPr>
              <a:defRPr/>
            </a:pPr>
            <a:endParaRPr lang="en-US" dirty="0" smtClean="0"/>
          </a:p>
          <a:p>
            <a:pPr>
              <a:defRPr/>
            </a:pPr>
            <a:r>
              <a:rPr lang="en-GB" dirty="0" smtClean="0"/>
              <a:t>Tunisia is as well the 1</a:t>
            </a:r>
            <a:r>
              <a:rPr lang="en-GB" baseline="30000" dirty="0" smtClean="0"/>
              <a:t>st</a:t>
            </a:r>
            <a:r>
              <a:rPr lang="en-GB" dirty="0" smtClean="0"/>
              <a:t> country from the south shore of the Med which attracts the largest number of EU companies. So, UK companies should think of the potential of using Tunisia (a market of 10 million consumers) as a regional platform (a regional hub) to base their companies, serve the EU and neighbouring markets and you will realise that it’s not too small after all. </a:t>
            </a:r>
            <a:endParaRPr lang="fr-FR" dirty="0" smtClean="0"/>
          </a:p>
          <a:p>
            <a:pPr>
              <a:defRPr/>
            </a:pPr>
            <a:endParaRPr lang="en-US" dirty="0" smtClean="0"/>
          </a:p>
          <a:p>
            <a:pPr>
              <a:defRPr/>
            </a:pPr>
            <a:endParaRPr lang="fr-FR" dirty="0" smtClean="0"/>
          </a:p>
        </p:txBody>
      </p:sp>
      <p:sp>
        <p:nvSpPr>
          <p:cNvPr id="171012"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223D135-EF9B-44E5-9EF1-9168BD980626}" type="slidenum">
              <a:rPr lang="fr-FR" altLang="fr-FR" smtClean="0"/>
              <a:pPr/>
              <a:t>11</a:t>
            </a:fld>
            <a:endParaRPr lang="fr-FR" altLang="fr-FR" smtClean="0"/>
          </a:p>
        </p:txBody>
      </p:sp>
    </p:spTree>
    <p:extLst>
      <p:ext uri="{BB962C8B-B14F-4D97-AF65-F5344CB8AC3E}">
        <p14:creationId xmlns:p14="http://schemas.microsoft.com/office/powerpoint/2010/main" val="3820194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3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fr-FR" sz="900" b="1" smtClean="0"/>
          </a:p>
          <a:p>
            <a:r>
              <a:rPr lang="en-US" altLang="fr-FR" smtClean="0"/>
              <a:t>Today we are proud to say that Tunisia enjoys </a:t>
            </a:r>
            <a:r>
              <a:rPr lang="en-US" altLang="fr-FR" b="1" smtClean="0"/>
              <a:t>a rich experience in the field of foreign investment</a:t>
            </a:r>
            <a:r>
              <a:rPr lang="en-US" altLang="fr-FR" smtClean="0"/>
              <a:t>, as the total number of companies with Arab and foreign participation operating in our country is currently 3353 companies providing more than 354 thousand jobs, The investment amount is about 20 054 MTND, </a:t>
            </a:r>
            <a:r>
              <a:rPr lang="en-GB" altLang="fr-FR" smtClean="0"/>
              <a:t>and the reason why they are still operating in Tunisia is that they have </a:t>
            </a:r>
            <a:r>
              <a:rPr lang="en-GB" altLang="fr-FR" b="1" smtClean="0"/>
              <a:t>full confidence </a:t>
            </a:r>
            <a:r>
              <a:rPr lang="en-GB" altLang="fr-FR" smtClean="0"/>
              <a:t>in our country as a </a:t>
            </a:r>
            <a:r>
              <a:rPr lang="en-GB" altLang="fr-FR" b="1" smtClean="0"/>
              <a:t>Profitable</a:t>
            </a:r>
            <a:r>
              <a:rPr lang="en-GB" altLang="fr-FR" smtClean="0"/>
              <a:t> </a:t>
            </a:r>
            <a:r>
              <a:rPr lang="en-GB" altLang="fr-FR" b="1" smtClean="0"/>
              <a:t>Business Location.</a:t>
            </a:r>
          </a:p>
          <a:p>
            <a:endParaRPr lang="en-US" altLang="fr-FR" sz="900" smtClean="0"/>
          </a:p>
          <a:p>
            <a:pPr eaLnBrk="1" hangingPunct="1"/>
            <a:endParaRPr lang="en-GB" altLang="en-US" sz="900" smtClean="0"/>
          </a:p>
        </p:txBody>
      </p:sp>
      <p:sp>
        <p:nvSpPr>
          <p:cNvPr id="1730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A5DDCD8-49E5-495D-BC4A-FADD90910EA9}" type="slidenum">
              <a:rPr lang="en-US" altLang="en-US" smtClean="0">
                <a:latin typeface="Arial Unicode MS" panose="020B0604020202020204" pitchFamily="34" charset="-128"/>
                <a:ea typeface="Arial Unicode MS" panose="020B0604020202020204" pitchFamily="34" charset="-128"/>
                <a:cs typeface="Arial Unicode MS" panose="020B0604020202020204" pitchFamily="34" charset="-128"/>
              </a:rPr>
              <a:pPr/>
              <a:t>12</a:t>
            </a:fld>
            <a:endParaRPr lang="en-US" altLang="en-US" smtClean="0">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13137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5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fr-FR" smtClean="0"/>
              <a:t>Tunisia enjoys many </a:t>
            </a:r>
            <a:r>
              <a:rPr lang="en-GB" altLang="fr-FR" b="1" smtClean="0"/>
              <a:t>comparative advantages</a:t>
            </a:r>
            <a:r>
              <a:rPr lang="en-GB" altLang="fr-FR" smtClean="0"/>
              <a:t> that have been identified mainly in: Electronics, Automotive components, Aerospace industries, Food processing industries, Renewable Energies, IT and Outsourcing activities, financial services, textiles &amp; clothing …</a:t>
            </a:r>
            <a:endParaRPr lang="en-GB" altLang="en-US" smtClean="0"/>
          </a:p>
          <a:p>
            <a:endParaRPr lang="en-US" altLang="fr-FR" smtClean="0"/>
          </a:p>
          <a:p>
            <a:endParaRPr lang="en-US" altLang="fr-FR" smtClean="0"/>
          </a:p>
          <a:p>
            <a:endParaRPr lang="en-GB" altLang="fr-FR" smtClean="0"/>
          </a:p>
          <a:p>
            <a:endParaRPr lang="en-GB" altLang="fr-FR" smtClean="0"/>
          </a:p>
          <a:p>
            <a:endParaRPr lang="en-GB" altLang="fr-FR" smtClean="0"/>
          </a:p>
          <a:p>
            <a:endParaRPr lang="fr-FR" altLang="fr-FR" smtClean="0"/>
          </a:p>
        </p:txBody>
      </p:sp>
      <p:sp>
        <p:nvSpPr>
          <p:cNvPr id="175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70000"/>
              </a:spcBef>
            </a:pPr>
            <a:fld id="{9F93C8C3-E8E9-42B9-91CF-CE2741B2E6F3}" type="slidenum">
              <a:rPr lang="en-US" altLang="en-US" smtClean="0">
                <a:latin typeface="Arial Unicode MS" panose="020B0604020202020204" pitchFamily="34" charset="-128"/>
              </a:rPr>
              <a:pPr>
                <a:spcBef>
                  <a:spcPct val="70000"/>
                </a:spcBef>
              </a:pPr>
              <a:t>13</a:t>
            </a:fld>
            <a:endParaRPr lang="en-US" altLang="en-US" smtClean="0">
              <a:latin typeface="Arial Unicode MS" panose="020B0604020202020204" pitchFamily="34" charset="-128"/>
            </a:endParaRPr>
          </a:p>
        </p:txBody>
      </p:sp>
    </p:spTree>
    <p:extLst>
      <p:ext uri="{BB962C8B-B14F-4D97-AF65-F5344CB8AC3E}">
        <p14:creationId xmlns:p14="http://schemas.microsoft.com/office/powerpoint/2010/main" val="2827763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D9AE978-4545-45F4-9D19-576F927AABB3}" type="slidenum">
              <a:rPr lang="fr-FR" altLang="fr-FR" smtClean="0"/>
              <a:pPr/>
              <a:t>14</a:t>
            </a:fld>
            <a:endParaRPr lang="fr-FR" altLang="fr-FR" smtClean="0"/>
          </a:p>
        </p:txBody>
      </p:sp>
      <p:sp>
        <p:nvSpPr>
          <p:cNvPr id="177155" name="Rectangle 7"/>
          <p:cNvSpPr txBox="1">
            <a:spLocks noGrp="1" noChangeArrowheads="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2252663">
              <a:defRPr>
                <a:solidFill>
                  <a:schemeClr val="tx1"/>
                </a:solidFill>
                <a:latin typeface="Arial" panose="020B0604020202020204" pitchFamily="34" charset="0"/>
                <a:cs typeface="Arial" panose="020B0604020202020204" pitchFamily="34" charset="0"/>
              </a:defRPr>
            </a:lvl1pPr>
            <a:lvl2pPr marL="742950" indent="-285750" defTabSz="2252663">
              <a:defRPr>
                <a:solidFill>
                  <a:schemeClr val="tx1"/>
                </a:solidFill>
                <a:latin typeface="Arial" panose="020B0604020202020204" pitchFamily="34" charset="0"/>
                <a:cs typeface="Arial" panose="020B0604020202020204" pitchFamily="34" charset="0"/>
              </a:defRPr>
            </a:lvl2pPr>
            <a:lvl3pPr marL="1143000" indent="-228600" defTabSz="2252663">
              <a:defRPr>
                <a:solidFill>
                  <a:schemeClr val="tx1"/>
                </a:solidFill>
                <a:latin typeface="Arial" panose="020B0604020202020204" pitchFamily="34" charset="0"/>
                <a:cs typeface="Arial" panose="020B0604020202020204" pitchFamily="34" charset="0"/>
              </a:defRPr>
            </a:lvl3pPr>
            <a:lvl4pPr marL="1600200" indent="-228600" defTabSz="2252663">
              <a:defRPr>
                <a:solidFill>
                  <a:schemeClr val="tx1"/>
                </a:solidFill>
                <a:latin typeface="Arial" panose="020B0604020202020204" pitchFamily="34" charset="0"/>
                <a:cs typeface="Arial" panose="020B0604020202020204" pitchFamily="34" charset="0"/>
              </a:defRPr>
            </a:lvl4pPr>
            <a:lvl5pPr marL="2057400" indent="-228600" defTabSz="2252663">
              <a:defRPr>
                <a:solidFill>
                  <a:schemeClr val="tx1"/>
                </a:solidFill>
                <a:latin typeface="Arial" panose="020B0604020202020204" pitchFamily="34" charset="0"/>
                <a:cs typeface="Arial" panose="020B0604020202020204" pitchFamily="34" charset="0"/>
              </a:defRPr>
            </a:lvl5pPr>
            <a:lvl6pPr marL="2514600" indent="-228600" defTabSz="22526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22526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22526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22526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buClr>
                <a:srgbClr val="FF0000"/>
              </a:buClr>
            </a:pPr>
            <a:fld id="{577AB82B-6FAF-4609-BA57-D7CB5C9FEB99}" type="slidenum">
              <a:rPr lang="fr-FR" altLang="fr-FR" sz="1200"/>
              <a:pPr algn="r">
                <a:buClr>
                  <a:srgbClr val="FF0000"/>
                </a:buClr>
              </a:pPr>
              <a:t>14</a:t>
            </a:fld>
            <a:endParaRPr lang="fr-FR" altLang="fr-FR" sz="1200"/>
          </a:p>
        </p:txBody>
      </p:sp>
      <p:sp>
        <p:nvSpPr>
          <p:cNvPr id="17715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7157" name="Rectangle 3"/>
          <p:cNvSpPr>
            <a:spLocks noGrp="1" noChangeArrowheads="1"/>
          </p:cNvSpPr>
          <p:nvPr>
            <p:ph type="body" idx="1"/>
          </p:nvPr>
        </p:nvSpPr>
        <p:spPr bwMode="auto">
          <a:xfrm>
            <a:off x="681038" y="4718050"/>
            <a:ext cx="5435600" cy="44656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fr-FR" smtClean="0"/>
              <a:t>For Aerospace industries: </a:t>
            </a:r>
            <a:r>
              <a:rPr lang="en-US" altLang="fr-FR" smtClean="0"/>
              <a:t>Today, more than 80 companies are operating in Tunisia </a:t>
            </a:r>
            <a:r>
              <a:rPr lang="en-GB" altLang="fr-FR" smtClean="0"/>
              <a:t>employing around 13 000 people</a:t>
            </a:r>
            <a:r>
              <a:rPr lang="en-US" altLang="fr-FR" smtClean="0"/>
              <a:t>. </a:t>
            </a:r>
          </a:p>
          <a:p>
            <a:endParaRPr lang="en-US" altLang="fr-FR" smtClean="0"/>
          </a:p>
          <a:p>
            <a:r>
              <a:rPr lang="en-US" altLang="fr-FR" smtClean="0"/>
              <a:t>Tunisia have proved its competitiveness in some manufactured products such as: cable harnesses, mechanical, electronics, plastic components and engineering. </a:t>
            </a:r>
            <a:endParaRPr lang="fr-FR" altLang="fr-FR" smtClean="0"/>
          </a:p>
          <a:p>
            <a:r>
              <a:rPr lang="en-US" altLang="fr-FR" smtClean="0"/>
              <a:t>It hosts several specialized international companies such as Latécoère, Mecahers, Hutchinson and Zodiac. Some of them like Safran or Zodiac have developed their own expertise centres. </a:t>
            </a:r>
          </a:p>
          <a:p>
            <a:endParaRPr lang="en-US" altLang="fr-FR" smtClean="0"/>
          </a:p>
          <a:p>
            <a:r>
              <a:rPr lang="en-US" altLang="fr-FR" smtClean="0"/>
              <a:t>Furthermore, a centre of excellence in the aeronautics professions -CEMIA- has recently been created to support the development of aeronautical activities in Tunisia and to help develop a dedicated infrastructure. </a:t>
            </a:r>
          </a:p>
          <a:p>
            <a:endParaRPr lang="en-US" altLang="fr-FR" smtClean="0"/>
          </a:p>
          <a:p>
            <a:r>
              <a:rPr lang="en-US" altLang="fr-FR" smtClean="0"/>
              <a:t>Tunisia's competitiveness in aerospace industries was brought up in international rankings such as that of FDI Magazine, which recently ranked Tunis and in particular its aeronautical cluster in El Mghira as the most competitive city in terms of costs at world level. </a:t>
            </a:r>
          </a:p>
          <a:p>
            <a:endParaRPr lang="en-US" altLang="fr-FR" smtClean="0"/>
          </a:p>
          <a:p>
            <a:endParaRPr lang="en-US" altLang="fr-FR" smtClean="0"/>
          </a:p>
          <a:p>
            <a:endParaRPr lang="en-US" altLang="fr-FR" smtClean="0"/>
          </a:p>
          <a:p>
            <a:endParaRPr lang="en-US" altLang="fr-FR" smtClean="0"/>
          </a:p>
          <a:p>
            <a:endParaRPr lang="en-US" altLang="fr-FR" smtClean="0"/>
          </a:p>
          <a:p>
            <a:endParaRPr lang="en-US" altLang="fr-FR" smtClean="0"/>
          </a:p>
        </p:txBody>
      </p:sp>
    </p:spTree>
    <p:extLst>
      <p:ext uri="{BB962C8B-B14F-4D97-AF65-F5344CB8AC3E}">
        <p14:creationId xmlns:p14="http://schemas.microsoft.com/office/powerpoint/2010/main" val="1495217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7CF647F-AA5B-4B56-9655-AF42AA7FD873}" type="slidenum">
              <a:rPr lang="fr-FR" altLang="en-US" smtClean="0">
                <a:latin typeface="Arial Unicode MS" panose="020B0604020202020204" pitchFamily="34" charset="-128"/>
                <a:ea typeface="Arial Unicode MS" panose="020B0604020202020204" pitchFamily="34" charset="-128"/>
                <a:cs typeface="Arial Unicode MS" panose="020B0604020202020204" pitchFamily="34" charset="-128"/>
              </a:rPr>
              <a:pPr/>
              <a:t>15</a:t>
            </a:fld>
            <a:endParaRPr lang="fr-FR" altLang="en-US" smtClean="0">
              <a:latin typeface="Arial Unicode MS" panose="020B0604020202020204" pitchFamily="34" charset="-128"/>
              <a:ea typeface="Arial Unicode MS" panose="020B0604020202020204" pitchFamily="34" charset="-128"/>
              <a:cs typeface="Arial Unicode MS" panose="020B0604020202020204" pitchFamily="34" charset="-128"/>
            </a:endParaRPr>
          </a:p>
        </p:txBody>
      </p:sp>
      <p:sp>
        <p:nvSpPr>
          <p:cNvPr id="179203" name="Rectangle 3"/>
          <p:cNvSpPr txBox="1">
            <a:spLocks noGrp="1" noChangeArrowheads="1"/>
          </p:cNvSpPr>
          <p:nvPr/>
        </p:nvSpPr>
        <p:spPr bwMode="auto">
          <a:xfrm>
            <a:off x="3849688" y="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85" tIns="44892" rIns="89785" bIns="44892"/>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7C806320-624F-47EB-ADB1-E9BDF7E1A176}" type="datetime1">
              <a:rPr lang="en-GB" altLang="en-US" sz="1000">
                <a:solidFill>
                  <a:srgbClr val="B2B2B2"/>
                </a:solidFill>
                <a:ea typeface="Arial Unicode MS" panose="020B0604020202020204" pitchFamily="34" charset="-128"/>
                <a:cs typeface="Arial Unicode MS" panose="020B0604020202020204" pitchFamily="34" charset="-128"/>
              </a:rPr>
              <a:pPr eaLnBrk="1" hangingPunct="1">
                <a:spcBef>
                  <a:spcPct val="50000"/>
                </a:spcBef>
              </a:pPr>
              <a:t>27/09/2018</a:t>
            </a:fld>
            <a:endParaRPr lang="fr-FR" altLang="en-US" sz="1000">
              <a:solidFill>
                <a:srgbClr val="B2B2B2"/>
              </a:solidFill>
              <a:ea typeface="Arial Unicode MS" panose="020B0604020202020204" pitchFamily="34" charset="-128"/>
              <a:cs typeface="Arial Unicode MS" panose="020B0604020202020204" pitchFamily="34" charset="-128"/>
            </a:endParaRPr>
          </a:p>
        </p:txBody>
      </p:sp>
      <p:sp>
        <p:nvSpPr>
          <p:cNvPr id="179204" name="Rectangle 7"/>
          <p:cNvSpPr txBox="1">
            <a:spLocks noGrp="1" noChangeArrowheads="1"/>
          </p:cNvSpPr>
          <p:nvPr/>
        </p:nvSpPr>
        <p:spPr bwMode="auto">
          <a:xfrm>
            <a:off x="3846513" y="9399588"/>
            <a:ext cx="2962275" cy="54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03" tIns="0" rIns="36503" bIns="0" anchor="b"/>
          <a:lstStyle>
            <a:lvl1pPr defTabSz="2212975">
              <a:defRPr>
                <a:solidFill>
                  <a:schemeClr val="tx1"/>
                </a:solidFill>
                <a:latin typeface="Arial" panose="020B0604020202020204" pitchFamily="34" charset="0"/>
                <a:cs typeface="Arial" panose="020B0604020202020204" pitchFamily="34" charset="0"/>
              </a:defRPr>
            </a:lvl1pPr>
            <a:lvl2pPr marL="742950" indent="-285750" defTabSz="2212975">
              <a:defRPr>
                <a:solidFill>
                  <a:schemeClr val="tx1"/>
                </a:solidFill>
                <a:latin typeface="Arial" panose="020B0604020202020204" pitchFamily="34" charset="0"/>
                <a:cs typeface="Arial" panose="020B0604020202020204" pitchFamily="34" charset="0"/>
              </a:defRPr>
            </a:lvl2pPr>
            <a:lvl3pPr marL="1143000" indent="-228600" defTabSz="2212975">
              <a:defRPr>
                <a:solidFill>
                  <a:schemeClr val="tx1"/>
                </a:solidFill>
                <a:latin typeface="Arial" panose="020B0604020202020204" pitchFamily="34" charset="0"/>
                <a:cs typeface="Arial" panose="020B0604020202020204" pitchFamily="34" charset="0"/>
              </a:defRPr>
            </a:lvl3pPr>
            <a:lvl4pPr marL="1600200" indent="-228600" defTabSz="2212975">
              <a:defRPr>
                <a:solidFill>
                  <a:schemeClr val="tx1"/>
                </a:solidFill>
                <a:latin typeface="Arial" panose="020B0604020202020204" pitchFamily="34" charset="0"/>
                <a:cs typeface="Arial" panose="020B0604020202020204" pitchFamily="34" charset="0"/>
              </a:defRPr>
            </a:lvl4pPr>
            <a:lvl5pPr marL="2057400" indent="-228600" defTabSz="2212975">
              <a:defRPr>
                <a:solidFill>
                  <a:schemeClr val="tx1"/>
                </a:solidFill>
                <a:latin typeface="Arial" panose="020B0604020202020204" pitchFamily="34" charset="0"/>
                <a:cs typeface="Arial" panose="020B0604020202020204" pitchFamily="34" charset="0"/>
              </a:defRPr>
            </a:lvl5pPr>
            <a:lvl6pPr marL="2514600" indent="-228600" defTabSz="22129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22129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22129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22129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9B209A66-FCE7-4871-A6D0-C4F463FC678D}" type="slidenum">
              <a:rPr lang="fr-FR" altLang="en-US" sz="2300" i="1">
                <a:solidFill>
                  <a:srgbClr val="B2B2B2"/>
                </a:solidFill>
                <a:ea typeface="Arial Unicode MS" panose="020B0604020202020204" pitchFamily="34" charset="-128"/>
                <a:cs typeface="Arial Unicode MS" panose="020B0604020202020204" pitchFamily="34" charset="-128"/>
              </a:rPr>
              <a:pPr algn="r" eaLnBrk="1" hangingPunct="1"/>
              <a:t>15</a:t>
            </a:fld>
            <a:endParaRPr lang="fr-FR" altLang="en-US" sz="2300" i="1">
              <a:solidFill>
                <a:srgbClr val="B2B2B2"/>
              </a:solidFill>
              <a:ea typeface="Arial Unicode MS" panose="020B0604020202020204" pitchFamily="34" charset="-128"/>
              <a:cs typeface="Arial Unicode MS" panose="020B0604020202020204" pitchFamily="34" charset="-128"/>
            </a:endParaRPr>
          </a:p>
        </p:txBody>
      </p:sp>
      <p:sp>
        <p:nvSpPr>
          <p:cNvPr id="179205" name="Rectangle 2"/>
          <p:cNvSpPr>
            <a:spLocks noGrp="1" noRot="1" noChangeAspect="1" noChangeArrowheads="1" noTextEdit="1"/>
          </p:cNvSpPr>
          <p:nvPr>
            <p:ph type="sldImg"/>
          </p:nvPr>
        </p:nvSpPr>
        <p:spPr bwMode="auto">
          <a:xfrm>
            <a:off x="919163" y="746125"/>
            <a:ext cx="4959350" cy="3721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920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fr-FR" smtClean="0"/>
              <a:t>The automotive components sector is indeed quite developed. Tunisia is the 2</a:t>
            </a:r>
            <a:r>
              <a:rPr lang="en-GB" altLang="fr-FR" baseline="30000" smtClean="0"/>
              <a:t>nd</a:t>
            </a:r>
            <a:r>
              <a:rPr lang="en-GB" altLang="fr-FR" smtClean="0"/>
              <a:t> car components manufacturer in Africa.</a:t>
            </a:r>
            <a:endParaRPr lang="fr-FR" altLang="fr-FR" smtClean="0"/>
          </a:p>
          <a:p>
            <a:r>
              <a:rPr lang="en-US" altLang="fr-FR" smtClean="0"/>
              <a:t>In this sector, Tunisia have proved its competitiveness in some manufactured products such as: cable harnesses, electronic cards, accessories, plastic components and engines components and the list is quite long. </a:t>
            </a:r>
            <a:endParaRPr lang="fr-FR" altLang="fr-FR" smtClean="0"/>
          </a:p>
          <a:p>
            <a:endParaRPr lang="en-GB" altLang="fr-FR" smtClean="0"/>
          </a:p>
          <a:p>
            <a:r>
              <a:rPr lang="en-GB" altLang="fr-FR" smtClean="0"/>
              <a:t>A number of foreign companies such as Lear Corporation, Delphi, Dräexlmaier, Leonische and valéo have chosen Tunisia to supply car manufacturers like Audi, VW, Renault, Volvo, Ford mainly with wire harnesses, electronic and electrical components and plastic parts...</a:t>
            </a:r>
            <a:endParaRPr lang="fr-FR" altLang="fr-FR" smtClean="0"/>
          </a:p>
          <a:p>
            <a:endParaRPr lang="en-US" altLang="fr-FR" smtClean="0"/>
          </a:p>
          <a:p>
            <a:endParaRPr lang="en-US" altLang="fr-FR" smtClean="0"/>
          </a:p>
          <a:p>
            <a:r>
              <a:rPr lang="en-US" altLang="fr-FR" smtClean="0"/>
              <a:t> </a:t>
            </a:r>
            <a:endParaRPr lang="fr-FR" altLang="fr-FR" smtClean="0"/>
          </a:p>
          <a:p>
            <a:r>
              <a:rPr lang="en-US" altLang="fr-FR" smtClean="0"/>
              <a:t> </a:t>
            </a:r>
            <a:endParaRPr lang="fr-FR" altLang="fr-FR" smtClean="0"/>
          </a:p>
        </p:txBody>
      </p:sp>
    </p:spTree>
    <p:extLst>
      <p:ext uri="{BB962C8B-B14F-4D97-AF65-F5344CB8AC3E}">
        <p14:creationId xmlns:p14="http://schemas.microsoft.com/office/powerpoint/2010/main" val="11176023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1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smtClean="0"/>
              <a:t>One of the chief challenges of Tunisia is to enhance </a:t>
            </a:r>
            <a:r>
              <a:rPr lang="en-US" altLang="fr-FR" b="1" smtClean="0"/>
              <a:t>the information and communications technology (ICT) sector</a:t>
            </a:r>
            <a:r>
              <a:rPr lang="en-US" altLang="fr-FR" smtClean="0"/>
              <a:t> which is one of the most dynamic sectors. </a:t>
            </a:r>
          </a:p>
          <a:p>
            <a:endParaRPr lang="en-US" altLang="fr-FR" smtClean="0"/>
          </a:p>
          <a:p>
            <a:endParaRPr lang="en-US" altLang="fr-FR" smtClean="0"/>
          </a:p>
          <a:p>
            <a:r>
              <a:rPr lang="en-US" altLang="fr-FR" smtClean="0"/>
              <a:t>The current telecommunications network is considered to be among the most developed and performing in the region and Tunisia aims to become an international digital destination by 2020 through a National Strategic Plan "Digital Tunisia 2020", aimed to consolidate and strengthen ICT use in all areas of activity. </a:t>
            </a:r>
          </a:p>
          <a:p>
            <a:endParaRPr lang="en-US" altLang="fr-FR" smtClean="0"/>
          </a:p>
          <a:p>
            <a:r>
              <a:rPr lang="en-US" altLang="fr-FR" smtClean="0"/>
              <a:t>In parallel with this global plan for ICT activities, the Tunisian government, in partnership with the private sector, has set up a specific program for offshoring companies: "</a:t>
            </a:r>
            <a:r>
              <a:rPr lang="en-US" altLang="fr-FR" i="1" smtClean="0"/>
              <a:t>Smart Tunisia</a:t>
            </a:r>
            <a:r>
              <a:rPr lang="en-US" altLang="fr-FR" smtClean="0"/>
              <a:t>" </a:t>
            </a:r>
          </a:p>
          <a:p>
            <a:r>
              <a:rPr lang="en-US" altLang="fr-FR" smtClean="0"/>
              <a:t>That aims to create 50,000 jobs in five years. </a:t>
            </a:r>
          </a:p>
        </p:txBody>
      </p:sp>
      <p:sp>
        <p:nvSpPr>
          <p:cNvPr id="181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6CE571B-EBD5-4DB9-803B-86C77FAE9686}" type="slidenum">
              <a:rPr lang="en-US" altLang="en-US" smtClean="0">
                <a:latin typeface="Arial Unicode MS" panose="020B0604020202020204" pitchFamily="34" charset="-128"/>
                <a:ea typeface="Arial Unicode MS" panose="020B0604020202020204" pitchFamily="34" charset="-128"/>
                <a:cs typeface="Arial Unicode MS" panose="020B0604020202020204" pitchFamily="34" charset="-128"/>
              </a:rPr>
              <a:pPr/>
              <a:t>16</a:t>
            </a:fld>
            <a:endParaRPr lang="en-US" altLang="en-US" smtClean="0">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78044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329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fr-FR" smtClean="0"/>
              <a:t>Concerning the agrifood industry, </a:t>
            </a:r>
            <a:r>
              <a:rPr lang="en-US" altLang="fr-FR" smtClean="0"/>
              <a:t>Tunisia is the world's leading exporter of dates, the </a:t>
            </a:r>
            <a:r>
              <a:rPr lang="en-GB" altLang="fr-FR" smtClean="0"/>
              <a:t>2nd world producer of OLIVE OIL. It is also</a:t>
            </a:r>
            <a:r>
              <a:rPr lang="en-US" altLang="fr-FR" smtClean="0"/>
              <a:t> the second African country exporting organic products. </a:t>
            </a:r>
          </a:p>
          <a:p>
            <a:endParaRPr lang="en-US" altLang="fr-FR" smtClean="0"/>
          </a:p>
          <a:p>
            <a:r>
              <a:rPr lang="en-US" altLang="fr-FR" smtClean="0"/>
              <a:t>As for food industry, the sector provides several investment opportunities in the field of canning, packaging and deep-freezing of fruits and vegetables. </a:t>
            </a:r>
          </a:p>
          <a:p>
            <a:r>
              <a:rPr lang="en-US" altLang="fr-FR" smtClean="0"/>
              <a:t>The presence of world leaders in the food industry shows the attractiveness of the Tunisian site in this field. Global companies such as Danone or Nestlé have shown long standing confidence in the site and its potential. </a:t>
            </a:r>
            <a:endParaRPr lang="fr-FR" altLang="fr-FR" smtClean="0"/>
          </a:p>
          <a:p>
            <a:endParaRPr lang="en-GB" altLang="fr-FR" smtClean="0"/>
          </a:p>
          <a:p>
            <a:endParaRPr lang="fr-FR" altLang="fr-FR" smtClean="0"/>
          </a:p>
          <a:p>
            <a:endParaRPr lang="en-US" altLang="fr-FR" smtClean="0"/>
          </a:p>
        </p:txBody>
      </p:sp>
      <p:sp>
        <p:nvSpPr>
          <p:cNvPr id="183300"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0E08506-500A-4C9C-8D46-3ACEFCE135FF}" type="slidenum">
              <a:rPr lang="fr-FR" altLang="fr-FR" smtClean="0">
                <a:latin typeface="Arial Unicode MS" panose="020B0604020202020204" pitchFamily="34" charset="-128"/>
                <a:ea typeface="Arial Unicode MS" panose="020B0604020202020204" pitchFamily="34" charset="-128"/>
                <a:cs typeface="Arial Unicode MS" panose="020B0604020202020204" pitchFamily="34" charset="-128"/>
              </a:rPr>
              <a:pPr/>
              <a:t>17</a:t>
            </a:fld>
            <a:endParaRPr lang="fr-FR" altLang="fr-FR" smtClean="0">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335390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534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smtClean="0"/>
              <a:t>The Textile clothing sector remains a strategic sector for Tunisia. It is the 2nd exporting sector and Tunisia is ranked 8</a:t>
            </a:r>
            <a:r>
              <a:rPr lang="en-US" altLang="fr-FR" baseline="30000" smtClean="0"/>
              <a:t>th</a:t>
            </a:r>
            <a:r>
              <a:rPr lang="en-US" altLang="fr-FR" smtClean="0"/>
              <a:t> as a principal supplier of Europe and 8</a:t>
            </a:r>
            <a:r>
              <a:rPr lang="en-US" altLang="fr-FR" baseline="30000" smtClean="0"/>
              <a:t>th</a:t>
            </a:r>
            <a:r>
              <a:rPr lang="en-US" altLang="fr-FR" smtClean="0"/>
              <a:t> largest supplier to the world. </a:t>
            </a:r>
          </a:p>
          <a:p>
            <a:endParaRPr lang="en-US" altLang="fr-FR" smtClean="0"/>
          </a:p>
          <a:p>
            <a:r>
              <a:rPr lang="en-US" altLang="fr-FR" smtClean="0"/>
              <a:t>Today, the sector tends to take advantage of the emergence of innovative activities in the automotive and aeronautical sectors (composite parts, textile materials for automotive industry, etc.). Niche opportunities are also present in women's lingerie, finishing, technical textiles known as smart textiles, representing the generation of fibres, fabrics and textile products (clothing for safety, extreme sports, fireproof...). </a:t>
            </a:r>
            <a:endParaRPr lang="fr-FR" altLang="fr-FR" smtClean="0"/>
          </a:p>
        </p:txBody>
      </p:sp>
      <p:sp>
        <p:nvSpPr>
          <p:cNvPr id="185348"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808007A-3FF2-4728-867F-E99F5FC34B7A}" type="slidenum">
              <a:rPr lang="fr-FR" altLang="fr-FR" smtClean="0"/>
              <a:pPr/>
              <a:t>18</a:t>
            </a:fld>
            <a:endParaRPr lang="fr-FR" altLang="fr-FR" smtClean="0"/>
          </a:p>
        </p:txBody>
      </p:sp>
    </p:spTree>
    <p:extLst>
      <p:ext uri="{BB962C8B-B14F-4D97-AF65-F5344CB8AC3E}">
        <p14:creationId xmlns:p14="http://schemas.microsoft.com/office/powerpoint/2010/main" val="6438940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739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smtClean="0"/>
              <a:t>Last but not least, it is my pleasure to inform you that Tunisia organises on the 9th and 10th November 2017 </a:t>
            </a:r>
            <a:r>
              <a:rPr lang="en-US" altLang="fr-FR" b="1" smtClean="0"/>
              <a:t>the Tunisia Investment Forum </a:t>
            </a:r>
            <a:r>
              <a:rPr lang="en-US" altLang="fr-FR" smtClean="0"/>
              <a:t>in its 18th edition. This event aims to be a forum for meeting, sharing and communicating on new market opportunities and the business climate of the country. </a:t>
            </a:r>
          </a:p>
          <a:p>
            <a:r>
              <a:rPr lang="en-US" altLang="fr-FR" smtClean="0"/>
              <a:t>So, be among the first to book your place at this prominent event that attracts every year some 1,200 participants from Tunisia, and more than 30 countries.</a:t>
            </a:r>
          </a:p>
          <a:p>
            <a:r>
              <a:rPr lang="en-US" altLang="fr-FR" smtClean="0"/>
              <a:t>We are taking this opportunity to invite you to join us by attending this exciting event.</a:t>
            </a:r>
          </a:p>
          <a:p>
            <a:endParaRPr lang="fr-FR" altLang="fr-FR" smtClean="0"/>
          </a:p>
          <a:p>
            <a:r>
              <a:rPr lang="fr-FR" altLang="fr-FR" smtClean="0"/>
              <a:t>And thank you for your listening.</a:t>
            </a:r>
          </a:p>
        </p:txBody>
      </p:sp>
      <p:sp>
        <p:nvSpPr>
          <p:cNvPr id="187396"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C97C0BA-7ECD-47C8-AED4-CE9FA41E15F1}" type="slidenum">
              <a:rPr lang="en-US" altLang="fr-FR" smtClean="0">
                <a:latin typeface="Arial Unicode MS" panose="020B0604020202020204" pitchFamily="34" charset="-128"/>
                <a:ea typeface="Arial Unicode MS" panose="020B0604020202020204" pitchFamily="34" charset="-128"/>
                <a:cs typeface="Arial Unicode MS" panose="020B0604020202020204" pitchFamily="34" charset="-128"/>
              </a:rPr>
              <a:pPr/>
              <a:t>19</a:t>
            </a:fld>
            <a:endParaRPr lang="en-US" altLang="fr-FR" smtClean="0">
              <a:latin typeface="Arial Unicode MS" panose="020B0604020202020204" pitchFamily="34" charset="-128"/>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73358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dirty="0" smtClean="0"/>
              <a:t>I’m going to give you a brief presentation of the New Investment Law. The second part will state the </a:t>
            </a:r>
            <a:r>
              <a:rPr lang="fr-FR" altLang="fr-FR" dirty="0" err="1" smtClean="0"/>
              <a:t>cooperation</a:t>
            </a:r>
            <a:r>
              <a:rPr lang="fr-FR" altLang="fr-FR" dirty="0" smtClean="0"/>
              <a:t> </a:t>
            </a:r>
            <a:r>
              <a:rPr lang="fr-FR" altLang="fr-FR" dirty="0" err="1" smtClean="0"/>
              <a:t>between</a:t>
            </a:r>
            <a:r>
              <a:rPr lang="fr-FR" altLang="fr-FR" dirty="0" smtClean="0"/>
              <a:t> Tunisia and UK. </a:t>
            </a:r>
            <a:r>
              <a:rPr lang="en-US" altLang="fr-FR" dirty="0" smtClean="0"/>
              <a:t>Finally, participants will get an incredible chance to seize the myriad of business opportunities available in Tunisia in different sectors (that will be the last part). </a:t>
            </a:r>
            <a:endParaRPr lang="fr-FR" altLang="fr-FR" dirty="0" smtClean="0"/>
          </a:p>
        </p:txBody>
      </p:sp>
      <p:sp>
        <p:nvSpPr>
          <p:cNvPr id="150532"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3A61CDA-D22F-4AB1-8554-9D491469EBC3}" type="slidenum">
              <a:rPr lang="fr-FR" altLang="fr-FR" smtClean="0"/>
              <a:pPr/>
              <a:t>2</a:t>
            </a:fld>
            <a:endParaRPr lang="fr-FR" altLang="fr-FR" smtClean="0"/>
          </a:p>
        </p:txBody>
      </p:sp>
    </p:spTree>
    <p:extLst>
      <p:ext uri="{BB962C8B-B14F-4D97-AF65-F5344CB8AC3E}">
        <p14:creationId xmlns:p14="http://schemas.microsoft.com/office/powerpoint/2010/main" val="1389325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smtClean="0"/>
              <a:t>Tunisian authorities made substantial progress on much-needed structural and economic reforms. Several key reforms are completed including the law on Public-Private Partnership (2015) , the law on investment in renewable energies (2015) , the competition law, the Tax system and </a:t>
            </a:r>
            <a:r>
              <a:rPr lang="en-US" altLang="fr-FR" b="1" smtClean="0"/>
              <a:t>the new investment law</a:t>
            </a:r>
            <a:r>
              <a:rPr lang="en-US" altLang="fr-FR" smtClean="0"/>
              <a:t>. </a:t>
            </a:r>
          </a:p>
          <a:p>
            <a:r>
              <a:rPr lang="en-US" altLang="fr-FR" smtClean="0"/>
              <a:t>With the new legal framework, Tunisia aims to change the present winded economic model and to adopt a new economic one based on efficiency and productivity through the development of investments in innovative and high value-added sectors that will improve the competitiveness of the national economy and reduce unemployment and regional disparities. </a:t>
            </a:r>
          </a:p>
          <a:p>
            <a:endParaRPr lang="en-US" altLang="fr-FR" smtClean="0"/>
          </a:p>
          <a:p>
            <a:r>
              <a:rPr lang="en-US" altLang="fr-FR" smtClean="0"/>
              <a:t>Other significant and strong reforms are still ongoing such as the banking sector, the exchange code, the customs code etc. We do actually expect that the </a:t>
            </a:r>
            <a:r>
              <a:rPr lang="fr-FR" altLang="fr-FR" smtClean="0"/>
              <a:t>continuation of reform efforts </a:t>
            </a:r>
            <a:r>
              <a:rPr lang="en-US" altLang="fr-FR" smtClean="0"/>
              <a:t>will certainly make the Tunisian economy bouncing back over the coming years.</a:t>
            </a:r>
          </a:p>
          <a:p>
            <a:endParaRPr lang="en-US" altLang="fr-FR" smtClean="0"/>
          </a:p>
          <a:p>
            <a:endParaRPr lang="fr-FR" altLang="fr-FR" smtClean="0"/>
          </a:p>
        </p:txBody>
      </p:sp>
      <p:sp>
        <p:nvSpPr>
          <p:cNvPr id="152580"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027BCFD-F2AE-4E1C-A0C3-CBBA6AF66018}" type="slidenum">
              <a:rPr lang="fr-FR" altLang="fr-FR" smtClean="0"/>
              <a:pPr/>
              <a:t>3</a:t>
            </a:fld>
            <a:endParaRPr lang="fr-FR" altLang="fr-FR" smtClean="0"/>
          </a:p>
        </p:txBody>
      </p:sp>
    </p:spTree>
    <p:extLst>
      <p:ext uri="{BB962C8B-B14F-4D97-AF65-F5344CB8AC3E}">
        <p14:creationId xmlns:p14="http://schemas.microsoft.com/office/powerpoint/2010/main" val="3667683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smtClean="0"/>
              <a:t>Regarding the Investment Law, it replaced the “Tunisian investment incentives code” enacted by law in1993 aiming to promote investments and business in Tunisia by improving its business climate </a:t>
            </a:r>
            <a:r>
              <a:rPr lang="fr-FR" altLang="fr-FR" smtClean="0"/>
              <a:t>and offering an appropriate incentive framework.</a:t>
            </a:r>
            <a:endParaRPr lang="en-US" altLang="fr-FR" smtClean="0"/>
          </a:p>
          <a:p>
            <a:r>
              <a:rPr lang="en-US" altLang="fr-FR" smtClean="0"/>
              <a:t> </a:t>
            </a:r>
          </a:p>
          <a:p>
            <a:r>
              <a:rPr lang="en-US" altLang="fr-FR" smtClean="0"/>
              <a:t>its enacting in September 2016 and entering into force in April 1st, 2017 will enhance the business environment and send positive signals to potential investors. We expect foreign investors, particulary the british ones, to take advantage of this positive attribute and help drive growth over the long term.</a:t>
            </a:r>
          </a:p>
        </p:txBody>
      </p:sp>
      <p:sp>
        <p:nvSpPr>
          <p:cNvPr id="154628"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9F2589A-7103-42D5-939C-22A8CC72F0DD}" type="slidenum">
              <a:rPr lang="fr-FR" altLang="fr-FR" smtClean="0"/>
              <a:pPr/>
              <a:t>4</a:t>
            </a:fld>
            <a:endParaRPr lang="fr-FR" altLang="fr-FR" smtClean="0"/>
          </a:p>
        </p:txBody>
      </p:sp>
    </p:spTree>
    <p:extLst>
      <p:ext uri="{BB962C8B-B14F-4D97-AF65-F5344CB8AC3E}">
        <p14:creationId xmlns:p14="http://schemas.microsoft.com/office/powerpoint/2010/main" val="3683999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Espace réservé des commentaires 2"/>
          <p:cNvSpPr>
            <a:spLocks noGrp="1"/>
          </p:cNvSpPr>
          <p:nvPr>
            <p:ph type="body" idx="1"/>
          </p:nvPr>
        </p:nvSpPr>
        <p:spPr/>
        <p:txBody>
          <a:bodyPr/>
          <a:lstStyle/>
          <a:p>
            <a:pPr>
              <a:defRPr/>
            </a:pPr>
            <a:r>
              <a:rPr lang="en-GB" dirty="0" smtClean="0"/>
              <a:t>The new orientations of the Investment Law will for sure stimulate FDI flows in different parts of the country and more specifically in remote areas.</a:t>
            </a:r>
            <a:endParaRPr lang="fr-FR" dirty="0" smtClean="0"/>
          </a:p>
          <a:p>
            <a:pPr>
              <a:defRPr/>
            </a:pPr>
            <a:endParaRPr lang="en-GB" dirty="0" smtClean="0"/>
          </a:p>
          <a:p>
            <a:pPr>
              <a:defRPr/>
            </a:pPr>
            <a:r>
              <a:rPr lang="en-GB" dirty="0" smtClean="0"/>
              <a:t>The focus will be on 6 main areas namely:</a:t>
            </a:r>
          </a:p>
          <a:p>
            <a:pPr marL="171450" indent="-171450">
              <a:buFontTx/>
              <a:buChar char="-"/>
              <a:defRPr/>
            </a:pPr>
            <a:r>
              <a:rPr lang="en-US" dirty="0" smtClean="0"/>
              <a:t>Achieving an integrated and balanced regional development</a:t>
            </a:r>
            <a:r>
              <a:rPr lang="en-GB" dirty="0" smtClean="0"/>
              <a:t>,</a:t>
            </a:r>
            <a:endParaRPr lang="fr-FR" dirty="0" smtClean="0"/>
          </a:p>
          <a:p>
            <a:pPr marL="171450" indent="-171450">
              <a:buFontTx/>
              <a:buChar char="-"/>
              <a:defRPr/>
            </a:pPr>
            <a:r>
              <a:rPr lang="en-US" dirty="0" smtClean="0"/>
              <a:t>Creating jobs and enhancing human resources skills</a:t>
            </a:r>
          </a:p>
          <a:p>
            <a:pPr marL="171450" indent="-171450">
              <a:buFontTx/>
              <a:buChar char="-"/>
              <a:defRPr/>
            </a:pPr>
            <a:r>
              <a:rPr lang="en-GB" dirty="0" smtClean="0"/>
              <a:t>Promoting innovation and creativity</a:t>
            </a:r>
          </a:p>
          <a:p>
            <a:pPr marL="171450" lvl="3" indent="-171450">
              <a:buFontTx/>
              <a:buChar char="-"/>
              <a:defRPr/>
            </a:pPr>
            <a:r>
              <a:rPr lang="en-US" sz="1400" dirty="0" smtClean="0">
                <a:solidFill>
                  <a:schemeClr val="tx1">
                    <a:lumMod val="75000"/>
                    <a:lumOff val="25000"/>
                  </a:schemeClr>
                </a:solidFill>
                <a:latin typeface="Century Gothic" charset="0"/>
                <a:ea typeface="Century Gothic" charset="0"/>
              </a:rPr>
              <a:t>An Integrated, comprehensive and sustainable economic systems</a:t>
            </a:r>
          </a:p>
          <a:p>
            <a:pPr marL="171450" lvl="3" indent="-171450">
              <a:buFontTx/>
              <a:buChar char="-"/>
              <a:defRPr/>
            </a:pPr>
            <a:r>
              <a:rPr lang="en-US" sz="1400" dirty="0" smtClean="0">
                <a:solidFill>
                  <a:schemeClr val="tx1">
                    <a:lumMod val="75000"/>
                    <a:lumOff val="25000"/>
                  </a:schemeClr>
                </a:solidFill>
                <a:latin typeface="Century Gothic" charset="0"/>
                <a:ea typeface="Century Gothic" charset="0"/>
              </a:rPr>
              <a:t>Productivity, as a source of sectors' competitiveness</a:t>
            </a:r>
          </a:p>
          <a:p>
            <a:pPr marL="171450" lvl="3" indent="-171450">
              <a:buFontTx/>
              <a:buChar char="-"/>
              <a:defRPr/>
            </a:pPr>
            <a:r>
              <a:rPr lang="en-US" sz="1400" kern="0" dirty="0" smtClean="0">
                <a:solidFill>
                  <a:srgbClr val="000000">
                    <a:lumMod val="75000"/>
                    <a:lumOff val="25000"/>
                  </a:srgbClr>
                </a:solidFill>
                <a:latin typeface="Century Gothic" charset="0"/>
                <a:ea typeface="Century Gothic" charset="0"/>
                <a:cs typeface="Simplified Arabic"/>
              </a:rPr>
              <a:t>Position in the global value chain, promoting promising sectors and enhancing export</a:t>
            </a:r>
            <a:endParaRPr lang="ar-TN" sz="1400" kern="0" dirty="0" smtClean="0">
              <a:solidFill>
                <a:srgbClr val="000000">
                  <a:lumMod val="75000"/>
                  <a:lumOff val="25000"/>
                </a:srgbClr>
              </a:solidFill>
              <a:latin typeface="Century Gothic" charset="0"/>
              <a:ea typeface="Century Gothic" charset="0"/>
              <a:cs typeface="Simplified Arabic"/>
            </a:endParaRPr>
          </a:p>
          <a:p>
            <a:pPr>
              <a:defRPr/>
            </a:pPr>
            <a:endParaRPr lang="en-US" dirty="0" smtClean="0"/>
          </a:p>
          <a:p>
            <a:pPr>
              <a:defRPr/>
            </a:pPr>
            <a:endParaRPr lang="en-US" dirty="0" smtClean="0"/>
          </a:p>
        </p:txBody>
      </p:sp>
      <p:sp>
        <p:nvSpPr>
          <p:cNvPr id="156676"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D31B34B-63F3-4E42-BDDC-DBFFC2209654}" type="slidenum">
              <a:rPr lang="fr-FR" altLang="fr-FR" smtClean="0"/>
              <a:pPr/>
              <a:t>5</a:t>
            </a:fld>
            <a:endParaRPr lang="fr-FR" altLang="fr-FR" smtClean="0"/>
          </a:p>
        </p:txBody>
      </p:sp>
    </p:spTree>
    <p:extLst>
      <p:ext uri="{BB962C8B-B14F-4D97-AF65-F5344CB8AC3E}">
        <p14:creationId xmlns:p14="http://schemas.microsoft.com/office/powerpoint/2010/main" val="1113801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8963" name="Espace réservé des commentaires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smtClean="0"/>
              <a:t>On the institutional level, the new Investment Law creates a new mechanisms for investment governance which mainly comprises:</a:t>
            </a:r>
          </a:p>
          <a:p>
            <a:pPr>
              <a:defRPr/>
            </a:pPr>
            <a:endParaRPr lang="en-US" dirty="0" smtClean="0"/>
          </a:p>
          <a:p>
            <a:pPr>
              <a:defRPr/>
            </a:pPr>
            <a:r>
              <a:rPr lang="en-US" dirty="0" smtClean="0"/>
              <a:t>- </a:t>
            </a:r>
            <a:r>
              <a:rPr lang="en-US" b="1" dirty="0" smtClean="0"/>
              <a:t>The High Investment Council </a:t>
            </a:r>
            <a:r>
              <a:rPr lang="en-US" dirty="0" smtClean="0"/>
              <a:t>chaired by the Head of Government and composed of ministers connected to the field of investments. The purpose of this Council is to approve the State's investment policy, strategy and programs in particular by evaluating the investment policy and taking the necessary decisions to promote the business climate. The Council will award incentive bonuses and grant incentives for projects of national interest (T</a:t>
            </a:r>
            <a:r>
              <a:rPr lang="en-US" dirty="0" smtClean="0">
                <a:latin typeface="Century Gothic" panose="020B0502020202020204" pitchFamily="34" charset="0"/>
                <a:cs typeface="Arial" pitchFamily="34" charset="0"/>
              </a:rPr>
              <a:t>he investment cost is no less than </a:t>
            </a:r>
            <a:r>
              <a:rPr lang="en-US" dirty="0" smtClean="0">
                <a:solidFill>
                  <a:schemeClr val="bg2"/>
                </a:solidFill>
                <a:latin typeface="Century Gothic" panose="020B0502020202020204" pitchFamily="34" charset="0"/>
                <a:cs typeface="Arial" pitchFamily="34" charset="0"/>
              </a:rPr>
              <a:t>50 MD </a:t>
            </a:r>
            <a:r>
              <a:rPr lang="en-US" dirty="0" smtClean="0">
                <a:latin typeface="Century Gothic" panose="020B0502020202020204" pitchFamily="34" charset="0"/>
                <a:cs typeface="Arial" pitchFamily="34" charset="0"/>
              </a:rPr>
              <a:t>or the creation of </a:t>
            </a:r>
            <a:r>
              <a:rPr lang="en-US" dirty="0" smtClean="0">
                <a:solidFill>
                  <a:schemeClr val="bg2"/>
                </a:solidFill>
                <a:latin typeface="Century Gothic" panose="020B0502020202020204" pitchFamily="34" charset="0"/>
                <a:cs typeface="Arial" pitchFamily="34" charset="0"/>
              </a:rPr>
              <a:t>500</a:t>
            </a:r>
            <a:r>
              <a:rPr lang="en-US" dirty="0" smtClean="0">
                <a:latin typeface="Century Gothic" panose="020B0502020202020204" pitchFamily="34" charset="0"/>
                <a:cs typeface="Arial" pitchFamily="34" charset="0"/>
              </a:rPr>
              <a:t> jobs within three years)</a:t>
            </a:r>
            <a:r>
              <a:rPr lang="en-US" dirty="0" smtClean="0"/>
              <a:t>.</a:t>
            </a:r>
          </a:p>
          <a:p>
            <a:pPr>
              <a:defRPr/>
            </a:pPr>
            <a:endParaRPr lang="en-US" dirty="0" smtClean="0"/>
          </a:p>
          <a:p>
            <a:pPr>
              <a:defRPr/>
            </a:pPr>
            <a:r>
              <a:rPr lang="en-US" dirty="0" smtClean="0"/>
              <a:t>- </a:t>
            </a:r>
            <a:r>
              <a:rPr lang="en-US" b="1" dirty="0" smtClean="0"/>
              <a:t>The Tunisian Investment Authority </a:t>
            </a:r>
            <a:r>
              <a:rPr lang="en-US" dirty="0" smtClean="0"/>
              <a:t>is introduced and placed under the authority of the Minister in charge of investment and the Council. Its tasks mainly consist in proposing policies and reforms in coordination with the private sector, supervising and orienting the investor by providing him with assistance on how to obtain the required </a:t>
            </a:r>
            <a:r>
              <a:rPr lang="en-US" dirty="0" err="1" smtClean="0"/>
              <a:t>authorisations</a:t>
            </a:r>
            <a:r>
              <a:rPr lang="en-US" dirty="0" smtClean="0"/>
              <a:t>, Studying and evaluating projects of national interest and submitting them to the Council </a:t>
            </a:r>
            <a:r>
              <a:rPr lang="en-US" dirty="0" err="1" smtClean="0"/>
              <a:t>etc</a:t>
            </a:r>
            <a:endParaRPr lang="en-US" dirty="0" smtClean="0"/>
          </a:p>
          <a:p>
            <a:pPr>
              <a:defRPr/>
            </a:pPr>
            <a:endParaRPr lang="en-US" dirty="0" smtClean="0"/>
          </a:p>
          <a:p>
            <a:pPr marL="171450" indent="-171450">
              <a:buFontTx/>
              <a:buChar char="-"/>
              <a:defRPr/>
            </a:pPr>
            <a:r>
              <a:rPr lang="en-US" dirty="0" smtClean="0"/>
              <a:t>Finally, the </a:t>
            </a:r>
            <a:r>
              <a:rPr lang="en-US" b="1" dirty="0" smtClean="0"/>
              <a:t>Tunisian Investment Fund </a:t>
            </a:r>
            <a:r>
              <a:rPr lang="en-US" dirty="0" smtClean="0"/>
              <a:t>that will pay the bonuses or investment grants that I already mentioned and be entitled to make subscriptions, directly or indirectly, to mutual investment funds and development capital funds.</a:t>
            </a:r>
          </a:p>
          <a:p>
            <a:pPr marL="171450" indent="-171450">
              <a:buFontTx/>
              <a:buChar char="-"/>
              <a:defRPr/>
            </a:pPr>
            <a:endParaRPr lang="fr-FR" dirty="0" smtClean="0"/>
          </a:p>
        </p:txBody>
      </p:sp>
      <p:sp>
        <p:nvSpPr>
          <p:cNvPr id="158724"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38DDA97-EEEC-4C49-9A4A-8935520C4482}" type="slidenum">
              <a:rPr lang="fr-FR" altLang="fr-FR" smtClean="0"/>
              <a:pPr/>
              <a:t>6</a:t>
            </a:fld>
            <a:endParaRPr lang="fr-FR" altLang="fr-FR" smtClean="0"/>
          </a:p>
        </p:txBody>
      </p:sp>
    </p:spTree>
    <p:extLst>
      <p:ext uri="{BB962C8B-B14F-4D97-AF65-F5344CB8AC3E}">
        <p14:creationId xmlns:p14="http://schemas.microsoft.com/office/powerpoint/2010/main" val="1615261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077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fr-FR" smtClean="0"/>
              <a:t>This slide summarises the provisions of the Investment Law. </a:t>
            </a:r>
          </a:p>
          <a:p>
            <a:r>
              <a:rPr lang="en-US" altLang="fr-FR" smtClean="0"/>
              <a:t>I cannot go into this slide because of time. But to be brief, I will just mention that the new Investment law sets </a:t>
            </a:r>
            <a:r>
              <a:rPr lang="en-GB" altLang="fr-FR" smtClean="0"/>
              <a:t>clear and transparent rules for the Access to the Market; establishes a common legal framework for Investment</a:t>
            </a:r>
            <a:r>
              <a:rPr lang="fr-FR" altLang="fr-FR" smtClean="0"/>
              <a:t>, c</a:t>
            </a:r>
            <a:r>
              <a:rPr lang="en-GB" altLang="fr-FR" smtClean="0"/>
              <a:t>larifies the investor’s Guarantees and Obligations and introduces the principle of equality between Tunisian and foreign investors; reinforces the principle of free international transfer of funds for foreign investors; Ensures the respect for industrial and intellectual property; Introduces an integrated system for the settlement of disputes etc, Moreover, t</a:t>
            </a:r>
            <a:r>
              <a:rPr lang="en-US" altLang="fr-FR" smtClean="0"/>
              <a:t>he hiring of foreign workers is made easier by this law.</a:t>
            </a:r>
          </a:p>
          <a:p>
            <a:endParaRPr lang="en-US" altLang="fr-FR" smtClean="0"/>
          </a:p>
          <a:p>
            <a:r>
              <a:rPr lang="fr-FR" altLang="fr-FR" smtClean="0"/>
              <a:t>To have a clear idea about that, it will be my pleasure to provide you at the end of the Forum with a whole document </a:t>
            </a:r>
            <a:r>
              <a:rPr lang="en-US" altLang="fr-FR" smtClean="0"/>
              <a:t>to learn more in detail about the Investment Law</a:t>
            </a:r>
            <a:r>
              <a:rPr lang="fr-FR" altLang="fr-FR" smtClean="0"/>
              <a:t>.</a:t>
            </a:r>
          </a:p>
        </p:txBody>
      </p:sp>
      <p:sp>
        <p:nvSpPr>
          <p:cNvPr id="160772"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293ED3D-899A-4BA9-AD6B-7B17EF6767BC}" type="slidenum">
              <a:rPr lang="fr-FR" altLang="fr-FR" smtClean="0"/>
              <a:pPr/>
              <a:t>7</a:t>
            </a:fld>
            <a:endParaRPr lang="fr-FR" altLang="fr-FR" smtClean="0"/>
          </a:p>
        </p:txBody>
      </p:sp>
    </p:spTree>
    <p:extLst>
      <p:ext uri="{BB962C8B-B14F-4D97-AF65-F5344CB8AC3E}">
        <p14:creationId xmlns:p14="http://schemas.microsoft.com/office/powerpoint/2010/main" val="4011227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281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fr-FR" smtClean="0"/>
              <a:t>Regarding the cooperation between Tunisia and UK, …..</a:t>
            </a:r>
          </a:p>
        </p:txBody>
      </p:sp>
      <p:sp>
        <p:nvSpPr>
          <p:cNvPr id="162820"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624AB81-A036-40AF-AC31-683446DB53D8}" type="slidenum">
              <a:rPr lang="fr-FR" altLang="fr-FR" smtClean="0"/>
              <a:pPr/>
              <a:t>8</a:t>
            </a:fld>
            <a:endParaRPr lang="fr-FR" altLang="fr-FR" smtClean="0"/>
          </a:p>
        </p:txBody>
      </p:sp>
    </p:spTree>
    <p:extLst>
      <p:ext uri="{BB962C8B-B14F-4D97-AF65-F5344CB8AC3E}">
        <p14:creationId xmlns:p14="http://schemas.microsoft.com/office/powerpoint/2010/main" val="2955969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fr-FR" smtClean="0"/>
              <a:t>…. The two countries have been trading partners for centuries. The first Anglo-Tunisian Treaty, regulating trade between them, was signed in 1662. </a:t>
            </a:r>
          </a:p>
          <a:p>
            <a:endParaRPr lang="fr-FR" altLang="fr-FR" smtClean="0"/>
          </a:p>
          <a:p>
            <a:r>
              <a:rPr lang="en-GB" altLang="fr-FR" smtClean="0"/>
              <a:t>Apart from the energy sector, there are at least 90 UK companies working in Tunisia employing over 16,000 people in electronics, tourism, transport, insurance and clothing &amp; textiles: such as Elektron Plc, Aero Stanrew, ELITEX (textile), Bomaco (electronics), Kacey Electronics, Westwise (confection) … </a:t>
            </a:r>
            <a:r>
              <a:rPr lang="en-GB" altLang="fr-FR" b="1" smtClean="0"/>
              <a:t>But there could and there should be many more. </a:t>
            </a:r>
          </a:p>
          <a:p>
            <a:endParaRPr lang="en-GB" altLang="fr-FR" b="1" smtClean="0"/>
          </a:p>
          <a:p>
            <a:endParaRPr lang="fr-FR" altLang="fr-FR" smtClean="0"/>
          </a:p>
          <a:p>
            <a:endParaRPr lang="fr-FR" altLang="fr-FR" smtClean="0"/>
          </a:p>
        </p:txBody>
      </p:sp>
      <p:sp>
        <p:nvSpPr>
          <p:cNvPr id="164868"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175E418-40B3-4167-8613-AF52E0892655}" type="slidenum">
              <a:rPr lang="fr-FR" altLang="fr-FR" smtClean="0">
                <a:solidFill>
                  <a:srgbClr val="000000"/>
                </a:solidFill>
              </a:rPr>
              <a:pPr/>
              <a:t>9</a:t>
            </a:fld>
            <a:endParaRPr lang="fr-FR" altLang="fr-FR" smtClean="0">
              <a:solidFill>
                <a:srgbClr val="000000"/>
              </a:solidFill>
            </a:endParaRPr>
          </a:p>
        </p:txBody>
      </p:sp>
    </p:spTree>
    <p:extLst>
      <p:ext uri="{BB962C8B-B14F-4D97-AF65-F5344CB8AC3E}">
        <p14:creationId xmlns:p14="http://schemas.microsoft.com/office/powerpoint/2010/main" val="11111594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Master" Target="../slideMasters/slideMaster32.xml"/><Relationship Id="rId5" Type="http://schemas.openxmlformats.org/officeDocument/2006/relationships/tags" Target="../tags/tag8.xml"/><Relationship Id="rId4" Type="http://schemas.openxmlformats.org/officeDocument/2006/relationships/tags" Target="../tags/tag7.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7.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2.jpeg"/><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9.emf"/><Relationship Id="rId4" Type="http://schemas.openxmlformats.org/officeDocument/2006/relationships/oleObject" Target="../embeddings/oleObject10.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3.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35.xml"/><Relationship Id="rId5" Type="http://schemas.openxmlformats.org/officeDocument/2006/relationships/tags" Target="../tags/tag23.xml"/><Relationship Id="rId4" Type="http://schemas.openxmlformats.org/officeDocument/2006/relationships/tags" Target="../tags/tag2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24.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25.xml"/><Relationship Id="rId1" Type="http://schemas.openxmlformats.org/officeDocument/2006/relationships/vmlDrawing" Target="../drawings/vmlDrawing15.vml"/><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7.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8.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22.jpeg"/><Relationship Id="rId5" Type="http://schemas.openxmlformats.org/officeDocument/2006/relationships/image" Target="../media/image19.emf"/><Relationship Id="rId4" Type="http://schemas.openxmlformats.org/officeDocument/2006/relationships/oleObject" Target="../embeddings/oleObject1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30.xml"/><Relationship Id="rId1" Type="http://schemas.openxmlformats.org/officeDocument/2006/relationships/vmlDrawing" Target="../drawings/vmlDrawing20.vml"/><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31.xml"/><Relationship Id="rId1" Type="http://schemas.openxmlformats.org/officeDocument/2006/relationships/vmlDrawing" Target="../drawings/vmlDrawing21.vml"/><Relationship Id="rId5" Type="http://schemas.openxmlformats.org/officeDocument/2006/relationships/image" Target="../media/image19.emf"/><Relationship Id="rId4" Type="http://schemas.openxmlformats.org/officeDocument/2006/relationships/oleObject" Target="../embeddings/oleObject2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2.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6832317"/>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603866110"/>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obj">
  <p:cSld name="Titre et contenu">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5946775"/>
            <a:ext cx="1581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5715" rIns="0" bIns="45715" anchor="b"/>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spcAft>
                <a:spcPct val="10000"/>
              </a:spcAft>
              <a:defRPr/>
            </a:pPr>
            <a:endParaRPr lang="en-GB" altLang="ja-JP" sz="1200" b="1" smtClean="0">
              <a:solidFill>
                <a:srgbClr val="FF0000"/>
              </a:solidFill>
              <a:ea typeface="MS PGothic" pitchFamily="34" charset="-128"/>
            </a:endParaRPr>
          </a:p>
        </p:txBody>
      </p:sp>
      <p:grpSp>
        <p:nvGrpSpPr>
          <p:cNvPr id="5" name="Group 4" hidden="1"/>
          <p:cNvGrpSpPr>
            <a:grpSpLocks/>
          </p:cNvGrpSpPr>
          <p:nvPr>
            <p:custDataLst>
              <p:tags r:id="rId1"/>
            </p:custDataLst>
          </p:nvPr>
        </p:nvGrpSpPr>
        <p:grpSpPr bwMode="auto">
          <a:xfrm>
            <a:off x="-14288" y="-31750"/>
            <a:ext cx="9172576" cy="6858000"/>
            <a:chOff x="-10" y="-20"/>
            <a:chExt cx="6260" cy="4320"/>
          </a:xfrm>
        </p:grpSpPr>
        <p:sp>
          <p:nvSpPr>
            <p:cNvPr id="6" name="Line 5" hidden="1"/>
            <p:cNvSpPr>
              <a:spLocks noChangeShapeType="1"/>
            </p:cNvSpPr>
            <p:nvPr/>
          </p:nvSpPr>
          <p:spPr bwMode="auto">
            <a:xfrm rot="-5400000">
              <a:off x="3109" y="-2372"/>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 name="Line 6" hidden="1"/>
            <p:cNvSpPr>
              <a:spLocks noChangeShapeType="1"/>
            </p:cNvSpPr>
            <p:nvPr/>
          </p:nvSpPr>
          <p:spPr bwMode="auto">
            <a:xfrm rot="-5400000">
              <a:off x="3129" y="-688"/>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 name="Line 7" hidden="1"/>
            <p:cNvSpPr>
              <a:spLocks noChangeShapeType="1"/>
            </p:cNvSpPr>
            <p:nvPr/>
          </p:nvSpPr>
          <p:spPr bwMode="auto">
            <a:xfrm rot="-5400000">
              <a:off x="3129" y="-87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 name="Line 8" hidden="1"/>
            <p:cNvSpPr>
              <a:spLocks noChangeShapeType="1"/>
            </p:cNvSpPr>
            <p:nvPr/>
          </p:nvSpPr>
          <p:spPr bwMode="auto">
            <a:xfrm rot="-5400000">
              <a:off x="3129" y="800"/>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 name="Line 9" hidden="1"/>
            <p:cNvSpPr>
              <a:spLocks noChangeShapeType="1"/>
            </p:cNvSpPr>
            <p:nvPr/>
          </p:nvSpPr>
          <p:spPr bwMode="auto">
            <a:xfrm rot="-5400000">
              <a:off x="3129" y="102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1" name="Line 10" hidden="1"/>
            <p:cNvSpPr>
              <a:spLocks noChangeShapeType="1"/>
            </p:cNvSpPr>
            <p:nvPr/>
          </p:nvSpPr>
          <p:spPr bwMode="auto">
            <a:xfrm flipV="1">
              <a:off x="1079" y="1796"/>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2" name="Line 11" hidden="1"/>
            <p:cNvSpPr>
              <a:spLocks noChangeShapeType="1"/>
            </p:cNvSpPr>
            <p:nvPr/>
          </p:nvSpPr>
          <p:spPr bwMode="auto">
            <a:xfrm flipV="1">
              <a:off x="1079" y="92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3" name="Line 12" hidden="1"/>
            <p:cNvSpPr>
              <a:spLocks noChangeShapeType="1"/>
            </p:cNvSpPr>
            <p:nvPr/>
          </p:nvSpPr>
          <p:spPr bwMode="auto">
            <a:xfrm flipV="1">
              <a:off x="1079" y="2605"/>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4" name="Line 13"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5" name="Line 14" hidden="1"/>
            <p:cNvSpPr>
              <a:spLocks noChangeShapeType="1"/>
            </p:cNvSpPr>
            <p:nvPr/>
          </p:nvSpPr>
          <p:spPr bwMode="auto">
            <a:xfrm>
              <a:off x="1079"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6" name="Line 15" hidden="1"/>
            <p:cNvSpPr>
              <a:spLocks noChangeShapeType="1"/>
            </p:cNvSpPr>
            <p:nvPr/>
          </p:nvSpPr>
          <p:spPr bwMode="auto">
            <a:xfrm>
              <a:off x="3438"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7" name="Line 16" hidden="1"/>
            <p:cNvSpPr>
              <a:spLocks noChangeShapeType="1"/>
            </p:cNvSpPr>
            <p:nvPr/>
          </p:nvSpPr>
          <p:spPr bwMode="auto">
            <a:xfrm>
              <a:off x="3751"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8" name="Line 17" hidden="1"/>
            <p:cNvSpPr>
              <a:spLocks noChangeShapeType="1"/>
            </p:cNvSpPr>
            <p:nvPr/>
          </p:nvSpPr>
          <p:spPr bwMode="auto">
            <a:xfrm>
              <a:off x="6114"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9" name="Line 18" hidden="1"/>
            <p:cNvSpPr>
              <a:spLocks noChangeShapeType="1"/>
            </p:cNvSpPr>
            <p:nvPr/>
          </p:nvSpPr>
          <p:spPr bwMode="auto">
            <a:xfrm flipV="1">
              <a:off x="2667"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0" name="Line 19" hidden="1"/>
            <p:cNvSpPr>
              <a:spLocks noChangeShapeType="1"/>
            </p:cNvSpPr>
            <p:nvPr/>
          </p:nvSpPr>
          <p:spPr bwMode="auto">
            <a:xfrm flipV="1">
              <a:off x="4511"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1" name="Line 20"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2" name="Line 21" hidden="1"/>
            <p:cNvSpPr>
              <a:spLocks noChangeShapeType="1"/>
            </p:cNvSpPr>
            <p:nvPr/>
          </p:nvSpPr>
          <p:spPr bwMode="auto">
            <a:xfrm rot="-5400000">
              <a:off x="3109" y="-2844"/>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23" name="Line 22" hidden="1"/>
            <p:cNvSpPr>
              <a:spLocks noChangeShapeType="1"/>
            </p:cNvSpPr>
            <p:nvPr/>
          </p:nvSpPr>
          <p:spPr bwMode="auto">
            <a:xfrm flipV="1">
              <a:off x="4390"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4" name="Line 23" hidden="1"/>
            <p:cNvSpPr>
              <a:spLocks noChangeShapeType="1"/>
            </p:cNvSpPr>
            <p:nvPr/>
          </p:nvSpPr>
          <p:spPr bwMode="auto">
            <a:xfrm flipV="1">
              <a:off x="2789"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5" name="Line 24" hidden="1"/>
            <p:cNvSpPr>
              <a:spLocks noChangeShapeType="1"/>
            </p:cNvSpPr>
            <p:nvPr/>
          </p:nvSpPr>
          <p:spPr bwMode="auto">
            <a:xfrm flipV="1">
              <a:off x="1079" y="2854"/>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6" name="Line 25" hidden="1"/>
            <p:cNvSpPr>
              <a:spLocks noChangeShapeType="1"/>
            </p:cNvSpPr>
            <p:nvPr/>
          </p:nvSpPr>
          <p:spPr bwMode="auto">
            <a:xfrm flipV="1">
              <a:off x="1079" y="198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sp>
        <p:nvSpPr>
          <p:cNvPr id="27" name="Text Box 34"/>
          <p:cNvSpPr txBox="1">
            <a:spLocks noChangeArrowheads="1"/>
          </p:cNvSpPr>
          <p:nvPr/>
        </p:nvSpPr>
        <p:spPr bwMode="auto">
          <a:xfrm>
            <a:off x="0" y="5946775"/>
            <a:ext cx="1581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5715" rIns="0" bIns="45715" anchor="b"/>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spcAft>
                <a:spcPct val="10000"/>
              </a:spcAft>
              <a:defRPr/>
            </a:pPr>
            <a:endParaRPr lang="en-GB" altLang="ja-JP" sz="1200" b="1" smtClean="0">
              <a:solidFill>
                <a:srgbClr val="FF0000"/>
              </a:solidFill>
              <a:ea typeface="MS PGothic" pitchFamily="34" charset="-128"/>
            </a:endParaRPr>
          </a:p>
        </p:txBody>
      </p:sp>
      <p:grpSp>
        <p:nvGrpSpPr>
          <p:cNvPr id="28" name="Group 35" hidden="1"/>
          <p:cNvGrpSpPr>
            <a:grpSpLocks/>
          </p:cNvGrpSpPr>
          <p:nvPr>
            <p:custDataLst>
              <p:tags r:id="rId2"/>
            </p:custDataLst>
          </p:nvPr>
        </p:nvGrpSpPr>
        <p:grpSpPr bwMode="auto">
          <a:xfrm>
            <a:off x="-14288" y="-31750"/>
            <a:ext cx="9172576" cy="6858000"/>
            <a:chOff x="-10" y="-20"/>
            <a:chExt cx="6260" cy="4320"/>
          </a:xfrm>
        </p:grpSpPr>
        <p:sp>
          <p:nvSpPr>
            <p:cNvPr id="29" name="Line 36" hidden="1"/>
            <p:cNvSpPr>
              <a:spLocks noChangeShapeType="1"/>
            </p:cNvSpPr>
            <p:nvPr/>
          </p:nvSpPr>
          <p:spPr bwMode="auto">
            <a:xfrm rot="-5400000">
              <a:off x="3109" y="-2372"/>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0" name="Line 37" hidden="1"/>
            <p:cNvSpPr>
              <a:spLocks noChangeShapeType="1"/>
            </p:cNvSpPr>
            <p:nvPr/>
          </p:nvSpPr>
          <p:spPr bwMode="auto">
            <a:xfrm rot="-5400000">
              <a:off x="3129" y="-688"/>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1" name="Line 38" hidden="1"/>
            <p:cNvSpPr>
              <a:spLocks noChangeShapeType="1"/>
            </p:cNvSpPr>
            <p:nvPr/>
          </p:nvSpPr>
          <p:spPr bwMode="auto">
            <a:xfrm rot="-5400000">
              <a:off x="3129" y="-87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2" name="Line 39" hidden="1"/>
            <p:cNvSpPr>
              <a:spLocks noChangeShapeType="1"/>
            </p:cNvSpPr>
            <p:nvPr/>
          </p:nvSpPr>
          <p:spPr bwMode="auto">
            <a:xfrm rot="-5400000">
              <a:off x="3129" y="800"/>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3" name="Line 40" hidden="1"/>
            <p:cNvSpPr>
              <a:spLocks noChangeShapeType="1"/>
            </p:cNvSpPr>
            <p:nvPr/>
          </p:nvSpPr>
          <p:spPr bwMode="auto">
            <a:xfrm rot="-5400000">
              <a:off x="3129" y="102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4" name="Line 41" hidden="1"/>
            <p:cNvSpPr>
              <a:spLocks noChangeShapeType="1"/>
            </p:cNvSpPr>
            <p:nvPr/>
          </p:nvSpPr>
          <p:spPr bwMode="auto">
            <a:xfrm flipV="1">
              <a:off x="1079" y="1796"/>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5" name="Line 42" hidden="1"/>
            <p:cNvSpPr>
              <a:spLocks noChangeShapeType="1"/>
            </p:cNvSpPr>
            <p:nvPr/>
          </p:nvSpPr>
          <p:spPr bwMode="auto">
            <a:xfrm flipV="1">
              <a:off x="1079" y="92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6" name="Line 43" hidden="1"/>
            <p:cNvSpPr>
              <a:spLocks noChangeShapeType="1"/>
            </p:cNvSpPr>
            <p:nvPr/>
          </p:nvSpPr>
          <p:spPr bwMode="auto">
            <a:xfrm flipV="1">
              <a:off x="1079" y="2605"/>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7" name="Line 44"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8" name="Line 45" hidden="1"/>
            <p:cNvSpPr>
              <a:spLocks noChangeShapeType="1"/>
            </p:cNvSpPr>
            <p:nvPr/>
          </p:nvSpPr>
          <p:spPr bwMode="auto">
            <a:xfrm>
              <a:off x="1079"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9" name="Line 46" hidden="1"/>
            <p:cNvSpPr>
              <a:spLocks noChangeShapeType="1"/>
            </p:cNvSpPr>
            <p:nvPr/>
          </p:nvSpPr>
          <p:spPr bwMode="auto">
            <a:xfrm>
              <a:off x="3438"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0" name="Line 47" hidden="1"/>
            <p:cNvSpPr>
              <a:spLocks noChangeShapeType="1"/>
            </p:cNvSpPr>
            <p:nvPr/>
          </p:nvSpPr>
          <p:spPr bwMode="auto">
            <a:xfrm>
              <a:off x="3751"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1" name="Line 48" hidden="1"/>
            <p:cNvSpPr>
              <a:spLocks noChangeShapeType="1"/>
            </p:cNvSpPr>
            <p:nvPr/>
          </p:nvSpPr>
          <p:spPr bwMode="auto">
            <a:xfrm>
              <a:off x="6114"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2" name="Line 49" hidden="1"/>
            <p:cNvSpPr>
              <a:spLocks noChangeShapeType="1"/>
            </p:cNvSpPr>
            <p:nvPr/>
          </p:nvSpPr>
          <p:spPr bwMode="auto">
            <a:xfrm flipV="1">
              <a:off x="2667"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3" name="Line 50" hidden="1"/>
            <p:cNvSpPr>
              <a:spLocks noChangeShapeType="1"/>
            </p:cNvSpPr>
            <p:nvPr/>
          </p:nvSpPr>
          <p:spPr bwMode="auto">
            <a:xfrm flipV="1">
              <a:off x="4511"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4" name="Line 51"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5" name="Line 52" hidden="1"/>
            <p:cNvSpPr>
              <a:spLocks noChangeShapeType="1"/>
            </p:cNvSpPr>
            <p:nvPr/>
          </p:nvSpPr>
          <p:spPr bwMode="auto">
            <a:xfrm rot="-5400000">
              <a:off x="3109" y="-2844"/>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6" name="Line 53" hidden="1"/>
            <p:cNvSpPr>
              <a:spLocks noChangeShapeType="1"/>
            </p:cNvSpPr>
            <p:nvPr/>
          </p:nvSpPr>
          <p:spPr bwMode="auto">
            <a:xfrm flipV="1">
              <a:off x="4390"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7" name="Line 54" hidden="1"/>
            <p:cNvSpPr>
              <a:spLocks noChangeShapeType="1"/>
            </p:cNvSpPr>
            <p:nvPr/>
          </p:nvSpPr>
          <p:spPr bwMode="auto">
            <a:xfrm flipV="1">
              <a:off x="2789"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8" name="Line 55" hidden="1"/>
            <p:cNvSpPr>
              <a:spLocks noChangeShapeType="1"/>
            </p:cNvSpPr>
            <p:nvPr/>
          </p:nvSpPr>
          <p:spPr bwMode="auto">
            <a:xfrm flipV="1">
              <a:off x="1079" y="2854"/>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9" name="Line 56" hidden="1"/>
            <p:cNvSpPr>
              <a:spLocks noChangeShapeType="1"/>
            </p:cNvSpPr>
            <p:nvPr/>
          </p:nvSpPr>
          <p:spPr bwMode="auto">
            <a:xfrm flipV="1">
              <a:off x="1079" y="198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50" name="Group 118" hidden="1"/>
          <p:cNvGrpSpPr>
            <a:grpSpLocks/>
          </p:cNvGrpSpPr>
          <p:nvPr>
            <p:custDataLst>
              <p:tags r:id="rId3"/>
            </p:custDataLst>
          </p:nvPr>
        </p:nvGrpSpPr>
        <p:grpSpPr bwMode="auto">
          <a:xfrm>
            <a:off x="-14288" y="-31750"/>
            <a:ext cx="9172576" cy="6858000"/>
            <a:chOff x="-10" y="-20"/>
            <a:chExt cx="6260" cy="4320"/>
          </a:xfrm>
        </p:grpSpPr>
        <p:sp>
          <p:nvSpPr>
            <p:cNvPr id="51" name="Line 119" hidden="1"/>
            <p:cNvSpPr>
              <a:spLocks noChangeShapeType="1"/>
            </p:cNvSpPr>
            <p:nvPr/>
          </p:nvSpPr>
          <p:spPr bwMode="auto">
            <a:xfrm rot="-5400000">
              <a:off x="3109" y="-2372"/>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2" name="Line 120" hidden="1"/>
            <p:cNvSpPr>
              <a:spLocks noChangeShapeType="1"/>
            </p:cNvSpPr>
            <p:nvPr/>
          </p:nvSpPr>
          <p:spPr bwMode="auto">
            <a:xfrm rot="-5400000">
              <a:off x="3129" y="-688"/>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3" name="Line 121" hidden="1"/>
            <p:cNvSpPr>
              <a:spLocks noChangeShapeType="1"/>
            </p:cNvSpPr>
            <p:nvPr/>
          </p:nvSpPr>
          <p:spPr bwMode="auto">
            <a:xfrm rot="-5400000">
              <a:off x="3129" y="-87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4" name="Line 122" hidden="1"/>
            <p:cNvSpPr>
              <a:spLocks noChangeShapeType="1"/>
            </p:cNvSpPr>
            <p:nvPr/>
          </p:nvSpPr>
          <p:spPr bwMode="auto">
            <a:xfrm rot="-5400000">
              <a:off x="3129" y="800"/>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5" name="Line 123" hidden="1"/>
            <p:cNvSpPr>
              <a:spLocks noChangeShapeType="1"/>
            </p:cNvSpPr>
            <p:nvPr/>
          </p:nvSpPr>
          <p:spPr bwMode="auto">
            <a:xfrm rot="-5400000">
              <a:off x="3129" y="102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6" name="Line 124" hidden="1"/>
            <p:cNvSpPr>
              <a:spLocks noChangeShapeType="1"/>
            </p:cNvSpPr>
            <p:nvPr/>
          </p:nvSpPr>
          <p:spPr bwMode="auto">
            <a:xfrm flipV="1">
              <a:off x="1079" y="1796"/>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57" name="Line 125" hidden="1"/>
            <p:cNvSpPr>
              <a:spLocks noChangeShapeType="1"/>
            </p:cNvSpPr>
            <p:nvPr/>
          </p:nvSpPr>
          <p:spPr bwMode="auto">
            <a:xfrm flipV="1">
              <a:off x="1079" y="92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58" name="Line 126" hidden="1"/>
            <p:cNvSpPr>
              <a:spLocks noChangeShapeType="1"/>
            </p:cNvSpPr>
            <p:nvPr/>
          </p:nvSpPr>
          <p:spPr bwMode="auto">
            <a:xfrm flipV="1">
              <a:off x="1079" y="2605"/>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59" name="Line 127"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0" name="Line 128" hidden="1"/>
            <p:cNvSpPr>
              <a:spLocks noChangeShapeType="1"/>
            </p:cNvSpPr>
            <p:nvPr/>
          </p:nvSpPr>
          <p:spPr bwMode="auto">
            <a:xfrm>
              <a:off x="1079"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1" name="Line 129" hidden="1"/>
            <p:cNvSpPr>
              <a:spLocks noChangeShapeType="1"/>
            </p:cNvSpPr>
            <p:nvPr/>
          </p:nvSpPr>
          <p:spPr bwMode="auto">
            <a:xfrm>
              <a:off x="3438"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2" name="Line 130" hidden="1"/>
            <p:cNvSpPr>
              <a:spLocks noChangeShapeType="1"/>
            </p:cNvSpPr>
            <p:nvPr/>
          </p:nvSpPr>
          <p:spPr bwMode="auto">
            <a:xfrm>
              <a:off x="3751"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3" name="Line 131" hidden="1"/>
            <p:cNvSpPr>
              <a:spLocks noChangeShapeType="1"/>
            </p:cNvSpPr>
            <p:nvPr/>
          </p:nvSpPr>
          <p:spPr bwMode="auto">
            <a:xfrm>
              <a:off x="6114"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4" name="Line 132" hidden="1"/>
            <p:cNvSpPr>
              <a:spLocks noChangeShapeType="1"/>
            </p:cNvSpPr>
            <p:nvPr/>
          </p:nvSpPr>
          <p:spPr bwMode="auto">
            <a:xfrm flipV="1">
              <a:off x="2667"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5" name="Line 133" hidden="1"/>
            <p:cNvSpPr>
              <a:spLocks noChangeShapeType="1"/>
            </p:cNvSpPr>
            <p:nvPr/>
          </p:nvSpPr>
          <p:spPr bwMode="auto">
            <a:xfrm flipV="1">
              <a:off x="4511"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6" name="Line 134"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7" name="Line 135" hidden="1"/>
            <p:cNvSpPr>
              <a:spLocks noChangeShapeType="1"/>
            </p:cNvSpPr>
            <p:nvPr/>
          </p:nvSpPr>
          <p:spPr bwMode="auto">
            <a:xfrm rot="-5400000">
              <a:off x="3109" y="-2844"/>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8" name="Line 136" hidden="1"/>
            <p:cNvSpPr>
              <a:spLocks noChangeShapeType="1"/>
            </p:cNvSpPr>
            <p:nvPr/>
          </p:nvSpPr>
          <p:spPr bwMode="auto">
            <a:xfrm flipV="1">
              <a:off x="4390"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9" name="Line 137" hidden="1"/>
            <p:cNvSpPr>
              <a:spLocks noChangeShapeType="1"/>
            </p:cNvSpPr>
            <p:nvPr/>
          </p:nvSpPr>
          <p:spPr bwMode="auto">
            <a:xfrm flipV="1">
              <a:off x="2789"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70" name="Line 138" hidden="1"/>
            <p:cNvSpPr>
              <a:spLocks noChangeShapeType="1"/>
            </p:cNvSpPr>
            <p:nvPr/>
          </p:nvSpPr>
          <p:spPr bwMode="auto">
            <a:xfrm flipV="1">
              <a:off x="1079" y="2854"/>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71" name="Line 139" hidden="1"/>
            <p:cNvSpPr>
              <a:spLocks noChangeShapeType="1"/>
            </p:cNvSpPr>
            <p:nvPr/>
          </p:nvSpPr>
          <p:spPr bwMode="auto">
            <a:xfrm flipV="1">
              <a:off x="1079" y="198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72" name="Group 118" hidden="1"/>
          <p:cNvGrpSpPr>
            <a:grpSpLocks/>
          </p:cNvGrpSpPr>
          <p:nvPr>
            <p:custDataLst>
              <p:tags r:id="rId4"/>
            </p:custDataLst>
          </p:nvPr>
        </p:nvGrpSpPr>
        <p:grpSpPr bwMode="auto">
          <a:xfrm>
            <a:off x="125413" y="120650"/>
            <a:ext cx="9174162" cy="6858000"/>
            <a:chOff x="-10" y="-20"/>
            <a:chExt cx="6260" cy="4320"/>
          </a:xfrm>
        </p:grpSpPr>
        <p:sp>
          <p:nvSpPr>
            <p:cNvPr id="73" name="Line 119" hidden="1"/>
            <p:cNvSpPr>
              <a:spLocks noChangeShapeType="1"/>
            </p:cNvSpPr>
            <p:nvPr/>
          </p:nvSpPr>
          <p:spPr bwMode="auto">
            <a:xfrm rot="-5400000">
              <a:off x="3109" y="-2372"/>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4" name="Line 120" hidden="1"/>
            <p:cNvSpPr>
              <a:spLocks noChangeShapeType="1"/>
            </p:cNvSpPr>
            <p:nvPr/>
          </p:nvSpPr>
          <p:spPr bwMode="auto">
            <a:xfrm rot="-5400000">
              <a:off x="3129" y="-688"/>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5" name="Line 121" hidden="1"/>
            <p:cNvSpPr>
              <a:spLocks noChangeShapeType="1"/>
            </p:cNvSpPr>
            <p:nvPr/>
          </p:nvSpPr>
          <p:spPr bwMode="auto">
            <a:xfrm rot="-5400000">
              <a:off x="3129" y="-87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6" name="Line 122" hidden="1"/>
            <p:cNvSpPr>
              <a:spLocks noChangeShapeType="1"/>
            </p:cNvSpPr>
            <p:nvPr/>
          </p:nvSpPr>
          <p:spPr bwMode="auto">
            <a:xfrm rot="-5400000">
              <a:off x="3129" y="800"/>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7" name="Line 123" hidden="1"/>
            <p:cNvSpPr>
              <a:spLocks noChangeShapeType="1"/>
            </p:cNvSpPr>
            <p:nvPr/>
          </p:nvSpPr>
          <p:spPr bwMode="auto">
            <a:xfrm rot="-5400000">
              <a:off x="3129" y="102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8" name="Line 124" hidden="1"/>
            <p:cNvSpPr>
              <a:spLocks noChangeShapeType="1"/>
            </p:cNvSpPr>
            <p:nvPr/>
          </p:nvSpPr>
          <p:spPr bwMode="auto">
            <a:xfrm flipV="1">
              <a:off x="1079" y="1796"/>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79" name="Line 125" hidden="1"/>
            <p:cNvSpPr>
              <a:spLocks noChangeShapeType="1"/>
            </p:cNvSpPr>
            <p:nvPr/>
          </p:nvSpPr>
          <p:spPr bwMode="auto">
            <a:xfrm flipV="1">
              <a:off x="1079" y="92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0" name="Line 126" hidden="1"/>
            <p:cNvSpPr>
              <a:spLocks noChangeShapeType="1"/>
            </p:cNvSpPr>
            <p:nvPr/>
          </p:nvSpPr>
          <p:spPr bwMode="auto">
            <a:xfrm flipV="1">
              <a:off x="1079" y="2605"/>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1" name="Line 127"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2" name="Line 128" hidden="1"/>
            <p:cNvSpPr>
              <a:spLocks noChangeShapeType="1"/>
            </p:cNvSpPr>
            <p:nvPr/>
          </p:nvSpPr>
          <p:spPr bwMode="auto">
            <a:xfrm>
              <a:off x="1079"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3" name="Line 129" hidden="1"/>
            <p:cNvSpPr>
              <a:spLocks noChangeShapeType="1"/>
            </p:cNvSpPr>
            <p:nvPr/>
          </p:nvSpPr>
          <p:spPr bwMode="auto">
            <a:xfrm>
              <a:off x="3438"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4" name="Line 130" hidden="1"/>
            <p:cNvSpPr>
              <a:spLocks noChangeShapeType="1"/>
            </p:cNvSpPr>
            <p:nvPr/>
          </p:nvSpPr>
          <p:spPr bwMode="auto">
            <a:xfrm>
              <a:off x="3751"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5" name="Line 131" hidden="1"/>
            <p:cNvSpPr>
              <a:spLocks noChangeShapeType="1"/>
            </p:cNvSpPr>
            <p:nvPr/>
          </p:nvSpPr>
          <p:spPr bwMode="auto">
            <a:xfrm>
              <a:off x="6114"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6" name="Line 132" hidden="1"/>
            <p:cNvSpPr>
              <a:spLocks noChangeShapeType="1"/>
            </p:cNvSpPr>
            <p:nvPr/>
          </p:nvSpPr>
          <p:spPr bwMode="auto">
            <a:xfrm flipV="1">
              <a:off x="2667"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7" name="Line 133" hidden="1"/>
            <p:cNvSpPr>
              <a:spLocks noChangeShapeType="1"/>
            </p:cNvSpPr>
            <p:nvPr/>
          </p:nvSpPr>
          <p:spPr bwMode="auto">
            <a:xfrm flipV="1">
              <a:off x="4511"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8" name="Line 134"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9" name="Line 135" hidden="1"/>
            <p:cNvSpPr>
              <a:spLocks noChangeShapeType="1"/>
            </p:cNvSpPr>
            <p:nvPr/>
          </p:nvSpPr>
          <p:spPr bwMode="auto">
            <a:xfrm rot="-5400000">
              <a:off x="3109" y="-2844"/>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0" name="Line 136" hidden="1"/>
            <p:cNvSpPr>
              <a:spLocks noChangeShapeType="1"/>
            </p:cNvSpPr>
            <p:nvPr/>
          </p:nvSpPr>
          <p:spPr bwMode="auto">
            <a:xfrm flipV="1">
              <a:off x="4390"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91" name="Line 137" hidden="1"/>
            <p:cNvSpPr>
              <a:spLocks noChangeShapeType="1"/>
            </p:cNvSpPr>
            <p:nvPr/>
          </p:nvSpPr>
          <p:spPr bwMode="auto">
            <a:xfrm flipV="1">
              <a:off x="2789"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92" name="Line 138" hidden="1"/>
            <p:cNvSpPr>
              <a:spLocks noChangeShapeType="1"/>
            </p:cNvSpPr>
            <p:nvPr/>
          </p:nvSpPr>
          <p:spPr bwMode="auto">
            <a:xfrm flipV="1">
              <a:off x="1079" y="2854"/>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93" name="Line 139" hidden="1"/>
            <p:cNvSpPr>
              <a:spLocks noChangeShapeType="1"/>
            </p:cNvSpPr>
            <p:nvPr/>
          </p:nvSpPr>
          <p:spPr bwMode="auto">
            <a:xfrm flipV="1">
              <a:off x="1079" y="198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94" name="Group 118" hidden="1"/>
          <p:cNvGrpSpPr>
            <a:grpSpLocks/>
          </p:cNvGrpSpPr>
          <p:nvPr>
            <p:custDataLst>
              <p:tags r:id="rId5"/>
            </p:custDataLst>
          </p:nvPr>
        </p:nvGrpSpPr>
        <p:grpSpPr bwMode="auto">
          <a:xfrm>
            <a:off x="266700" y="273050"/>
            <a:ext cx="9172575" cy="6858000"/>
            <a:chOff x="-10" y="-20"/>
            <a:chExt cx="6260" cy="4320"/>
          </a:xfrm>
        </p:grpSpPr>
        <p:sp>
          <p:nvSpPr>
            <p:cNvPr id="95" name="Line 119" hidden="1"/>
            <p:cNvSpPr>
              <a:spLocks noChangeShapeType="1"/>
            </p:cNvSpPr>
            <p:nvPr/>
          </p:nvSpPr>
          <p:spPr bwMode="auto">
            <a:xfrm rot="-5400000">
              <a:off x="3109" y="-2372"/>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6" name="Line 120" hidden="1"/>
            <p:cNvSpPr>
              <a:spLocks noChangeShapeType="1"/>
            </p:cNvSpPr>
            <p:nvPr/>
          </p:nvSpPr>
          <p:spPr bwMode="auto">
            <a:xfrm rot="-5400000">
              <a:off x="3129" y="-688"/>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7" name="Line 121" hidden="1"/>
            <p:cNvSpPr>
              <a:spLocks noChangeShapeType="1"/>
            </p:cNvSpPr>
            <p:nvPr/>
          </p:nvSpPr>
          <p:spPr bwMode="auto">
            <a:xfrm rot="-5400000">
              <a:off x="3129" y="-87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8" name="Line 122" hidden="1"/>
            <p:cNvSpPr>
              <a:spLocks noChangeShapeType="1"/>
            </p:cNvSpPr>
            <p:nvPr/>
          </p:nvSpPr>
          <p:spPr bwMode="auto">
            <a:xfrm rot="-5400000">
              <a:off x="3129" y="800"/>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9" name="Line 123" hidden="1"/>
            <p:cNvSpPr>
              <a:spLocks noChangeShapeType="1"/>
            </p:cNvSpPr>
            <p:nvPr/>
          </p:nvSpPr>
          <p:spPr bwMode="auto">
            <a:xfrm rot="-5400000">
              <a:off x="3129" y="102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0" name="Line 124" hidden="1"/>
            <p:cNvSpPr>
              <a:spLocks noChangeShapeType="1"/>
            </p:cNvSpPr>
            <p:nvPr/>
          </p:nvSpPr>
          <p:spPr bwMode="auto">
            <a:xfrm flipV="1">
              <a:off x="1079" y="1796"/>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1" name="Line 125" hidden="1"/>
            <p:cNvSpPr>
              <a:spLocks noChangeShapeType="1"/>
            </p:cNvSpPr>
            <p:nvPr/>
          </p:nvSpPr>
          <p:spPr bwMode="auto">
            <a:xfrm flipV="1">
              <a:off x="1079" y="92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2" name="Line 126" hidden="1"/>
            <p:cNvSpPr>
              <a:spLocks noChangeShapeType="1"/>
            </p:cNvSpPr>
            <p:nvPr/>
          </p:nvSpPr>
          <p:spPr bwMode="auto">
            <a:xfrm flipV="1">
              <a:off x="1079" y="2605"/>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3" name="Line 127"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4" name="Line 128" hidden="1"/>
            <p:cNvSpPr>
              <a:spLocks noChangeShapeType="1"/>
            </p:cNvSpPr>
            <p:nvPr/>
          </p:nvSpPr>
          <p:spPr bwMode="auto">
            <a:xfrm>
              <a:off x="1079"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5" name="Line 129" hidden="1"/>
            <p:cNvSpPr>
              <a:spLocks noChangeShapeType="1"/>
            </p:cNvSpPr>
            <p:nvPr/>
          </p:nvSpPr>
          <p:spPr bwMode="auto">
            <a:xfrm>
              <a:off x="3438"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6" name="Line 130" hidden="1"/>
            <p:cNvSpPr>
              <a:spLocks noChangeShapeType="1"/>
            </p:cNvSpPr>
            <p:nvPr/>
          </p:nvSpPr>
          <p:spPr bwMode="auto">
            <a:xfrm>
              <a:off x="3751"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7" name="Line 131" hidden="1"/>
            <p:cNvSpPr>
              <a:spLocks noChangeShapeType="1"/>
            </p:cNvSpPr>
            <p:nvPr/>
          </p:nvSpPr>
          <p:spPr bwMode="auto">
            <a:xfrm>
              <a:off x="6114"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8" name="Line 132" hidden="1"/>
            <p:cNvSpPr>
              <a:spLocks noChangeShapeType="1"/>
            </p:cNvSpPr>
            <p:nvPr/>
          </p:nvSpPr>
          <p:spPr bwMode="auto">
            <a:xfrm flipV="1">
              <a:off x="2667"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9" name="Line 133" hidden="1"/>
            <p:cNvSpPr>
              <a:spLocks noChangeShapeType="1"/>
            </p:cNvSpPr>
            <p:nvPr/>
          </p:nvSpPr>
          <p:spPr bwMode="auto">
            <a:xfrm flipV="1">
              <a:off x="4511"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0" name="Line 134"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1" name="Line 135" hidden="1"/>
            <p:cNvSpPr>
              <a:spLocks noChangeShapeType="1"/>
            </p:cNvSpPr>
            <p:nvPr/>
          </p:nvSpPr>
          <p:spPr bwMode="auto">
            <a:xfrm rot="-5400000">
              <a:off x="3109" y="-2844"/>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12" name="Line 136" hidden="1"/>
            <p:cNvSpPr>
              <a:spLocks noChangeShapeType="1"/>
            </p:cNvSpPr>
            <p:nvPr/>
          </p:nvSpPr>
          <p:spPr bwMode="auto">
            <a:xfrm flipV="1">
              <a:off x="4390"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3" name="Line 137" hidden="1"/>
            <p:cNvSpPr>
              <a:spLocks noChangeShapeType="1"/>
            </p:cNvSpPr>
            <p:nvPr/>
          </p:nvSpPr>
          <p:spPr bwMode="auto">
            <a:xfrm flipV="1">
              <a:off x="2789"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4" name="Line 138" hidden="1"/>
            <p:cNvSpPr>
              <a:spLocks noChangeShapeType="1"/>
            </p:cNvSpPr>
            <p:nvPr/>
          </p:nvSpPr>
          <p:spPr bwMode="auto">
            <a:xfrm flipV="1">
              <a:off x="1079" y="2854"/>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5" name="Line 139" hidden="1"/>
            <p:cNvSpPr>
              <a:spLocks noChangeShapeType="1"/>
            </p:cNvSpPr>
            <p:nvPr/>
          </p:nvSpPr>
          <p:spPr bwMode="auto">
            <a:xfrm flipV="1">
              <a:off x="1079" y="198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sp>
        <p:nvSpPr>
          <p:cNvPr id="116" name="ZoneTexte 115"/>
          <p:cNvSpPr txBox="1">
            <a:spLocks noChangeArrowheads="1"/>
          </p:cNvSpPr>
          <p:nvPr/>
        </p:nvSpPr>
        <p:spPr bwMode="auto">
          <a:xfrm>
            <a:off x="7881938" y="26988"/>
            <a:ext cx="12636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lgn="ctr" eaLnBrk="1" hangingPunct="1">
              <a:defRPr/>
            </a:pPr>
            <a:r>
              <a:rPr lang="fr-FR" sz="1400" b="1" smtClean="0">
                <a:solidFill>
                  <a:srgbClr val="FF0000"/>
                </a:solidFill>
              </a:rPr>
              <a:t>DRAFT</a:t>
            </a:r>
          </a:p>
        </p:txBody>
      </p:sp>
      <p:sp>
        <p:nvSpPr>
          <p:cNvPr id="117" name="Rectangle 116"/>
          <p:cNvSpPr/>
          <p:nvPr/>
        </p:nvSpPr>
        <p:spPr>
          <a:xfrm>
            <a:off x="0" y="0"/>
            <a:ext cx="9144000" cy="255588"/>
          </a:xfrm>
          <a:prstGeom prst="rect">
            <a:avLst/>
          </a:prstGeom>
          <a:solidFill>
            <a:srgbClr val="007CB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fr-FR">
              <a:solidFill>
                <a:srgbClr val="FFFFFF"/>
              </a:solidFill>
            </a:endParaRPr>
          </a:p>
        </p:txBody>
      </p:sp>
      <p:sp>
        <p:nvSpPr>
          <p:cNvPr id="118" name="Rectangle 117"/>
          <p:cNvSpPr/>
          <p:nvPr/>
        </p:nvSpPr>
        <p:spPr>
          <a:xfrm>
            <a:off x="-1588" y="6586538"/>
            <a:ext cx="9144001" cy="271462"/>
          </a:xfrm>
          <a:prstGeom prst="rect">
            <a:avLst/>
          </a:prstGeom>
          <a:solidFill>
            <a:srgbClr val="007C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rtl="1" eaLnBrk="1" hangingPunct="1">
              <a:defRPr/>
            </a:pPr>
            <a:r>
              <a:rPr lang="ar-TN" altLang="fr-FR" sz="1400" b="1" smtClean="0">
                <a:solidFill>
                  <a:srgbClr val="FFFFFF"/>
                </a:solidFill>
                <a:latin typeface="Simplified Arabic" panose="02020603050405020304" pitchFamily="18" charset="-78"/>
                <a:cs typeface="Simplified Arabic" panose="02020603050405020304" pitchFamily="18" charset="-78"/>
              </a:rPr>
              <a:t>وزارة التنمية والتعاون الدولي – اللجنة التنفيذية لمراجعة مجلة تشجيع الاستثمارات                                                             </a:t>
            </a:r>
            <a:r>
              <a:rPr lang="fr-FR" altLang="fr-FR" sz="1200" b="1" smtClean="0">
                <a:solidFill>
                  <a:srgbClr val="FFFFFF"/>
                </a:solidFill>
                <a:latin typeface="Arial (corps)"/>
                <a:cs typeface="Simplified Arabic" panose="02020603050405020304" pitchFamily="18" charset="-78"/>
              </a:rPr>
              <a:t>25     </a:t>
            </a:r>
            <a:r>
              <a:rPr lang="ar-TN" altLang="fr-FR" sz="1400" b="1" smtClean="0">
                <a:solidFill>
                  <a:srgbClr val="FFFFFF"/>
                </a:solidFill>
                <a:latin typeface="Arial (corps)"/>
                <a:cs typeface="Simplified Arabic" panose="02020603050405020304" pitchFamily="18" charset="-78"/>
              </a:rPr>
              <a:t> أفريل </a:t>
            </a:r>
            <a:r>
              <a:rPr lang="ar-TN" altLang="fr-FR" sz="1200" b="1" smtClean="0">
                <a:solidFill>
                  <a:srgbClr val="FFFFFF"/>
                </a:solidFill>
                <a:latin typeface="Arial (corps)"/>
                <a:cs typeface="Simplified Arabic" panose="02020603050405020304" pitchFamily="18" charset="-78"/>
              </a:rPr>
              <a:t>2013 </a:t>
            </a:r>
            <a:r>
              <a:rPr lang="ar-TN" altLang="fr-FR" sz="1400" b="1" smtClean="0">
                <a:solidFill>
                  <a:srgbClr val="FFFFFF"/>
                </a:solidFill>
                <a:latin typeface="Arial (corps)"/>
                <a:cs typeface="Simplified Arabic" panose="02020603050405020304" pitchFamily="18" charset="-78"/>
              </a:rPr>
              <a:t>- </a:t>
            </a:r>
            <a:fld id="{53D790D7-6981-449C-8095-5D2E7A289B02}" type="slidenum">
              <a:rPr lang="ar-TN" altLang="fr-FR" sz="1200" b="1" smtClean="0">
                <a:solidFill>
                  <a:srgbClr val="FFFFFF"/>
                </a:solidFill>
                <a:latin typeface="Arial (corps)"/>
                <a:cs typeface="Simplified Arabic" panose="02020603050405020304" pitchFamily="18" charset="-78"/>
              </a:rPr>
              <a:pPr algn="r" rtl="1" eaLnBrk="1" hangingPunct="1">
                <a:defRPr/>
              </a:pPr>
              <a:t>‹N°›</a:t>
            </a:fld>
            <a:r>
              <a:rPr lang="ar-TN" altLang="fr-FR" sz="1400" b="1" smtClean="0">
                <a:solidFill>
                  <a:srgbClr val="FFFFFF"/>
                </a:solidFill>
                <a:latin typeface="Arial (corps)"/>
                <a:cs typeface="Simplified Arabic" panose="02020603050405020304" pitchFamily="18" charset="-78"/>
              </a:rPr>
              <a:t> </a:t>
            </a:r>
            <a:endParaRPr lang="fr-FR" altLang="fr-FR" sz="1400" b="1" smtClean="0">
              <a:solidFill>
                <a:srgbClr val="FFFFFF"/>
              </a:solidFill>
              <a:latin typeface="Simplified Arabic" panose="02020603050405020304" pitchFamily="18" charset="-78"/>
              <a:cs typeface="Simplified Arabic" panose="02020603050405020304" pitchFamily="18" charset="-78"/>
            </a:endParaRPr>
          </a:p>
        </p:txBody>
      </p:sp>
      <p:sp>
        <p:nvSpPr>
          <p:cNvPr id="2" name="Titre 1"/>
          <p:cNvSpPr>
            <a:spLocks noGrp="1"/>
          </p:cNvSpPr>
          <p:nvPr>
            <p:ph type="title"/>
          </p:nvPr>
        </p:nvSpPr>
        <p:spPr>
          <a:xfrm>
            <a:off x="659423" y="279400"/>
            <a:ext cx="8299938" cy="431800"/>
          </a:xfrm>
        </p:spPr>
        <p:txBody>
          <a:bodyPr/>
          <a:lstStyle/>
          <a:p>
            <a:r>
              <a:rPr lang="fr-FR" smtClean="0"/>
              <a:t>Cliquez pour modifier le style du titre</a:t>
            </a:r>
            <a:endParaRPr lang="en-GB" dirty="0"/>
          </a:p>
        </p:txBody>
      </p:sp>
      <p:sp>
        <p:nvSpPr>
          <p:cNvPr id="3" name="Espace réservé du contenu 2"/>
          <p:cNvSpPr>
            <a:spLocks noGrp="1"/>
          </p:cNvSpPr>
          <p:nvPr>
            <p:ph idx="1"/>
          </p:nvPr>
        </p:nvSpPr>
        <p:spPr>
          <a:xfrm>
            <a:off x="1581151" y="1196975"/>
            <a:ext cx="7378211" cy="5040313"/>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Tree>
    <p:extLst>
      <p:ext uri="{BB962C8B-B14F-4D97-AF65-F5344CB8AC3E}">
        <p14:creationId xmlns:p14="http://schemas.microsoft.com/office/powerpoint/2010/main" val="104042387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74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1C895171-80FE-469E-A6A3-98A77192D941}"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A7AEA06C-FB69-4CF9-86EA-B89D676568EA}" type="slidenum">
              <a:rPr lang="fr-FR" altLang="fr-FR"/>
              <a:pPr>
                <a:defRPr/>
              </a:pPr>
              <a:t>‹N°›</a:t>
            </a:fld>
            <a:endParaRPr lang="fr-FR" altLang="fr-FR"/>
          </a:p>
        </p:txBody>
      </p:sp>
    </p:spTree>
    <p:extLst>
      <p:ext uri="{BB962C8B-B14F-4D97-AF65-F5344CB8AC3E}">
        <p14:creationId xmlns:p14="http://schemas.microsoft.com/office/powerpoint/2010/main" val="326651067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772"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9625624C-C901-4857-AA33-F587470F12D1}"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4567B610-F926-4C3A-BCB5-A9898B9DDBA4}" type="slidenum">
              <a:rPr lang="fr-FR" altLang="fr-FR"/>
              <a:pPr>
                <a:defRPr/>
              </a:pPr>
              <a:t>‹N°›</a:t>
            </a:fld>
            <a:endParaRPr lang="fr-FR" altLang="fr-FR"/>
          </a:p>
        </p:txBody>
      </p:sp>
    </p:spTree>
    <p:extLst>
      <p:ext uri="{BB962C8B-B14F-4D97-AF65-F5344CB8AC3E}">
        <p14:creationId xmlns:p14="http://schemas.microsoft.com/office/powerpoint/2010/main" val="429025817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2_Diapositive de titr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796"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027988" y="11113"/>
            <a:ext cx="973137" cy="144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0" y="171450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solidFill>
                <a:srgbClr val="FFFFFF"/>
              </a:solidFill>
            </a:endParaRPr>
          </a:p>
        </p:txBody>
      </p:sp>
      <p:sp>
        <p:nvSpPr>
          <p:cNvPr id="7" name="Rectangle 9"/>
          <p:cNvSpPr>
            <a:spLocks noChangeArrowheads="1"/>
          </p:cNvSpPr>
          <p:nvPr/>
        </p:nvSpPr>
        <p:spPr bwMode="auto">
          <a:xfrm>
            <a:off x="3500438" y="428625"/>
            <a:ext cx="4572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ar-TN" altLang="fr-FR" b="1" smtClean="0">
                <a:solidFill>
                  <a:srgbClr val="000000"/>
                </a:solidFill>
              </a:rPr>
              <a:t>الجمهورية التونسية</a:t>
            </a:r>
            <a:br>
              <a:rPr lang="ar-TN" altLang="fr-FR" b="1" smtClean="0">
                <a:solidFill>
                  <a:srgbClr val="000000"/>
                </a:solidFill>
              </a:rPr>
            </a:br>
            <a:r>
              <a:rPr lang="ar-TN" altLang="fr-FR" b="1" smtClean="0">
                <a:solidFill>
                  <a:srgbClr val="000000"/>
                </a:solidFill>
              </a:rPr>
              <a:t>وزارة التنمية والاستثمار والتعاون الدولي</a:t>
            </a:r>
            <a:endParaRPr lang="fr-FR" altLang="fr-FR" b="1" smtClean="0">
              <a:solidFill>
                <a:srgbClr val="000000"/>
              </a:solidFill>
            </a:endParaRPr>
          </a:p>
        </p:txBody>
      </p:sp>
      <p:sp>
        <p:nvSpPr>
          <p:cNvPr id="3" name="Sous-titre 2"/>
          <p:cNvSpPr>
            <a:spLocks noGrp="1"/>
          </p:cNvSpPr>
          <p:nvPr>
            <p:ph type="subTitle" idx="1"/>
          </p:nvPr>
        </p:nvSpPr>
        <p:spPr>
          <a:xfrm>
            <a:off x="1371600" y="2747970"/>
            <a:ext cx="6400800" cy="1752600"/>
          </a:xfrm>
        </p:spPr>
        <p:txBody>
          <a:bodyPr rtlCol="0">
            <a:normAutofit/>
          </a:bodyPr>
          <a:lstStyle>
            <a:lvl1pPr marL="0" indent="0" algn="ctr" defTabSz="914400" rtl="1" eaLnBrk="1" latinLnBrk="0" hangingPunct="1">
              <a:spcBef>
                <a:spcPct val="20000"/>
              </a:spcBef>
              <a:buFont typeface="Arial" pitchFamily="34" charset="0"/>
              <a:buNone/>
              <a:defRPr lang="fr-BE" sz="3200" b="1" kern="1200" dirty="0">
                <a:solidFill>
                  <a:srgbClr val="FF0000"/>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BE" dirty="0"/>
          </a:p>
        </p:txBody>
      </p:sp>
      <p:sp>
        <p:nvSpPr>
          <p:cNvPr id="8" name="Espace réservé de la date 3"/>
          <p:cNvSpPr>
            <a:spLocks noGrp="1"/>
          </p:cNvSpPr>
          <p:nvPr>
            <p:ph type="dt" sz="half" idx="10"/>
          </p:nvPr>
        </p:nvSpPr>
        <p:spPr>
          <a:xfrm>
            <a:off x="3503613" y="5483225"/>
            <a:ext cx="2133600" cy="400050"/>
          </a:xfrm>
        </p:spPr>
        <p:txBody>
          <a:bodyPr wrap="square">
            <a:spAutoFit/>
          </a:bodyPr>
          <a:lstStyle>
            <a:lvl1pPr marL="0" algn="ctr" defTabSz="914400" rtl="1" eaLnBrk="1" latinLnBrk="0" hangingPunct="1">
              <a:defRPr lang="fr-BE" sz="2000" b="1" kern="1200">
                <a:solidFill>
                  <a:srgbClr val="000000"/>
                </a:solidFill>
                <a:latin typeface="Arial" pitchFamily="34" charset="0"/>
                <a:ea typeface="+mn-ea"/>
                <a:cs typeface="Arial" pitchFamily="34" charset="0"/>
              </a:defRPr>
            </a:lvl1pPr>
          </a:lstStyle>
          <a:p>
            <a:pPr>
              <a:defRPr/>
            </a:pPr>
            <a:fld id="{1F3AF246-A245-4926-A7C3-ED88D58C6C9F}" type="datetimeFigureOut">
              <a:rPr lang="fr-FR"/>
              <a:pPr>
                <a:defRPr/>
              </a:pPr>
              <a:t>27/09/2018</a:t>
            </a:fld>
            <a:endParaRPr lang="fr-FR"/>
          </a:p>
        </p:txBody>
      </p:sp>
    </p:spTree>
    <p:extLst>
      <p:ext uri="{BB962C8B-B14F-4D97-AF65-F5344CB8AC3E}">
        <p14:creationId xmlns:p14="http://schemas.microsoft.com/office/powerpoint/2010/main" val="24185119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cSld name="3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574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cSld name="26_Title and Conten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82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Connecteur droit 9"/>
          <p:cNvCxnSpPr/>
          <p:nvPr/>
        </p:nvCxnSpPr>
        <p:spPr>
          <a:xfrm>
            <a:off x="130175" y="895350"/>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5" name="ZoneTexte 4"/>
          <p:cNvSpPr txBox="1">
            <a:spLocks noChangeArrowheads="1"/>
          </p:cNvSpPr>
          <p:nvPr/>
        </p:nvSpPr>
        <p:spPr bwMode="auto">
          <a:xfrm>
            <a:off x="6215063" y="6400800"/>
            <a:ext cx="2520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lgn="r" eaLnBrk="1" hangingPunct="1">
              <a:defRPr/>
            </a:pPr>
            <a:r>
              <a:rPr lang="ar-TN" sz="1000" b="1" smtClean="0">
                <a:solidFill>
                  <a:srgbClr val="898989"/>
                </a:solidFill>
              </a:rPr>
              <a:t>الجمهورية التونسية</a:t>
            </a:r>
            <a:br>
              <a:rPr lang="ar-TN" sz="1000" b="1" smtClean="0">
                <a:solidFill>
                  <a:srgbClr val="898989"/>
                </a:solidFill>
              </a:rPr>
            </a:br>
            <a:r>
              <a:rPr lang="ar-TN" sz="1000" b="1" smtClean="0">
                <a:solidFill>
                  <a:srgbClr val="898989"/>
                </a:solidFill>
              </a:rPr>
              <a:t>وزارة التنمية والاستثمار والتعاون الدولي</a:t>
            </a:r>
            <a:endParaRPr lang="fr-BE" sz="1000" smtClean="0">
              <a:solidFill>
                <a:srgbClr val="898989"/>
              </a:solidFill>
            </a:endParaRPr>
          </a:p>
        </p:txBody>
      </p:sp>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729663" y="6357938"/>
            <a:ext cx="365125" cy="48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Espace réservé du numéro de diapositive 5"/>
          <p:cNvSpPr txBox="1">
            <a:spLocks/>
          </p:cNvSpPr>
          <p:nvPr/>
        </p:nvSpPr>
        <p:spPr>
          <a:xfrm>
            <a:off x="428625" y="6418263"/>
            <a:ext cx="625475"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058F3580-D409-4DB5-8FB5-B15E504C6AF2}" type="slidenum">
              <a:rPr lang="fr-BE" altLang="fr-FR" sz="1000" smtClean="0">
                <a:solidFill>
                  <a:srgbClr val="E51B2E"/>
                </a:solidFill>
              </a:rPr>
              <a:pPr algn="ctr" eaLnBrk="1" hangingPunct="1">
                <a:defRPr/>
              </a:pPr>
              <a:t>‹N°›</a:t>
            </a:fld>
            <a:endParaRPr lang="fr-BE" altLang="fr-FR" sz="1000" smtClean="0">
              <a:solidFill>
                <a:srgbClr val="E51B2E"/>
              </a:solidFill>
            </a:endParaRPr>
          </a:p>
        </p:txBody>
      </p:sp>
      <p:cxnSp>
        <p:nvCxnSpPr>
          <p:cNvPr id="8" name="Connecteur droit 8"/>
          <p:cNvCxnSpPr/>
          <p:nvPr/>
        </p:nvCxnSpPr>
        <p:spPr>
          <a:xfrm>
            <a:off x="0" y="6357938"/>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0" y="635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FFFFF"/>
              </a:solidFill>
            </a:endParaRPr>
          </a:p>
        </p:txBody>
      </p:sp>
      <p:sp>
        <p:nvSpPr>
          <p:cNvPr id="18" name="Text Placeholder 28"/>
          <p:cNvSpPr>
            <a:spLocks noGrp="1"/>
          </p:cNvSpPr>
          <p:nvPr>
            <p:ph type="body" sz="quarter" idx="23"/>
          </p:nvPr>
        </p:nvSpPr>
        <p:spPr>
          <a:xfrm>
            <a:off x="164012" y="176177"/>
            <a:ext cx="8791302" cy="710519"/>
          </a:xfrm>
        </p:spPr>
        <p:txBody>
          <a:bodyPr anchor="ctr">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lvl="0"/>
            <a:r>
              <a:rPr lang="fr-FR" smtClean="0"/>
              <a:t>Cliquez pour modifier les styles du texte du masque</a:t>
            </a:r>
          </a:p>
        </p:txBody>
      </p:sp>
      <p:sp>
        <p:nvSpPr>
          <p:cNvPr id="10" name="Espace réservé du pied de page 4"/>
          <p:cNvSpPr>
            <a:spLocks noGrp="1"/>
          </p:cNvSpPr>
          <p:nvPr>
            <p:ph type="ftr" sz="quarter" idx="24"/>
          </p:nvPr>
        </p:nvSpPr>
        <p:spPr>
          <a:xfrm>
            <a:off x="3124200" y="6418263"/>
            <a:ext cx="2895600" cy="365125"/>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sz="1000">
                <a:solidFill>
                  <a:srgbClr val="FF7575"/>
                </a:solidFill>
              </a:defRPr>
            </a:lvl1pPr>
          </a:lstStyle>
          <a:p>
            <a:pPr>
              <a:defRPr/>
            </a:pPr>
            <a:endParaRPr lang="fr-FR"/>
          </a:p>
        </p:txBody>
      </p:sp>
    </p:spTree>
    <p:extLst>
      <p:ext uri="{BB962C8B-B14F-4D97-AF65-F5344CB8AC3E}">
        <p14:creationId xmlns:p14="http://schemas.microsoft.com/office/powerpoint/2010/main" val="123255820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29_Title and Content">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844"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Connecteur droit 9"/>
          <p:cNvCxnSpPr/>
          <p:nvPr/>
        </p:nvCxnSpPr>
        <p:spPr>
          <a:xfrm>
            <a:off x="152400" y="538163"/>
            <a:ext cx="813752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 name="Connecteur droit 17"/>
          <p:cNvCxnSpPr/>
          <p:nvPr/>
        </p:nvCxnSpPr>
        <p:spPr>
          <a:xfrm>
            <a:off x="152400" y="6524625"/>
            <a:ext cx="8763000"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371475" y="6561138"/>
            <a:ext cx="8540750" cy="296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eaLnBrk="1" hangingPunct="1">
              <a:defRPr/>
            </a:pPr>
            <a:r>
              <a:rPr lang="fr-FR" sz="1000" dirty="0">
                <a:solidFill>
                  <a:srgbClr val="000000">
                    <a:lumMod val="75000"/>
                  </a:srgbClr>
                </a:solidFill>
                <a:latin typeface="Arial" pitchFamily="34" charset="0"/>
                <a:cs typeface="Arial" pitchFamily="34" charset="0"/>
              </a:rPr>
              <a:t>24</a:t>
            </a:r>
            <a:r>
              <a:rPr lang="ar-TN" sz="1000" dirty="0">
                <a:solidFill>
                  <a:srgbClr val="000000">
                    <a:lumMod val="75000"/>
                  </a:srgbClr>
                </a:solidFill>
                <a:latin typeface="Arial" pitchFamily="34" charset="0"/>
                <a:cs typeface="Arial" pitchFamily="34" charset="0"/>
              </a:rPr>
              <a:t> أفريل 2015 </a:t>
            </a:r>
            <a:r>
              <a:rPr lang="fr-FR" sz="1000" dirty="0">
                <a:solidFill>
                  <a:srgbClr val="000000">
                    <a:lumMod val="75000"/>
                  </a:srgbClr>
                </a:solidFill>
                <a:latin typeface="Arial" pitchFamily="34" charset="0"/>
                <a:cs typeface="Arial" pitchFamily="34" charset="0"/>
              </a:rPr>
              <a:t>			</a:t>
            </a:r>
            <a:r>
              <a:rPr lang="ar-TN" sz="1000" dirty="0">
                <a:solidFill>
                  <a:srgbClr val="000000">
                    <a:lumMod val="75000"/>
                  </a:srgbClr>
                </a:solidFill>
                <a:latin typeface="Arial" pitchFamily="34" charset="0"/>
                <a:cs typeface="Arial" pitchFamily="34" charset="0"/>
              </a:rPr>
              <a:t>وزارة التنمية والاستثمار والتعاون الدولي – </a:t>
            </a:r>
            <a:r>
              <a:rPr lang="fr-FR" sz="1000" dirty="0">
                <a:solidFill>
                  <a:srgbClr val="000000">
                    <a:lumMod val="75000"/>
                  </a:srgbClr>
                </a:solidFill>
                <a:latin typeface="Arial" pitchFamily="34" charset="0"/>
                <a:cs typeface="Arial" pitchFamily="34" charset="0"/>
              </a:rPr>
              <a:t> </a:t>
            </a:r>
            <a:r>
              <a:rPr lang="ar-TN" sz="1000" dirty="0">
                <a:solidFill>
                  <a:srgbClr val="000000">
                    <a:lumMod val="75000"/>
                  </a:srgbClr>
                </a:solidFill>
                <a:latin typeface="Arial" pitchFamily="34" charset="0"/>
                <a:cs typeface="Arial" pitchFamily="34" charset="0"/>
              </a:rPr>
              <a:t>اللجنة التنفيذية لمراجعة مجلة تشجيع الاستثمارات</a:t>
            </a:r>
            <a:endParaRPr lang="fr-FR" sz="1000" dirty="0">
              <a:solidFill>
                <a:srgbClr val="000000">
                  <a:lumMod val="75000"/>
                </a:srgbClr>
              </a:solidFill>
              <a:latin typeface="Arial" pitchFamily="34" charset="0"/>
              <a:cs typeface="Arial" pitchFamily="34" charset="0"/>
            </a:endParaRPr>
          </a:p>
        </p:txBody>
      </p:sp>
      <p:cxnSp>
        <p:nvCxnSpPr>
          <p:cNvPr id="9" name="Connecteur droit 9"/>
          <p:cNvCxnSpPr/>
          <p:nvPr/>
        </p:nvCxnSpPr>
        <p:spPr>
          <a:xfrm rot="5400000">
            <a:off x="5391150" y="274638"/>
            <a:ext cx="54927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 name="Connecteur droit 9"/>
          <p:cNvCxnSpPr/>
          <p:nvPr/>
        </p:nvCxnSpPr>
        <p:spPr>
          <a:xfrm>
            <a:off x="130175" y="1228725"/>
            <a:ext cx="8763000"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2" descr="http://i.huffpost.com/gen/1262883/images/o-DRAPEAU-TUNISIE-facebook.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325" y="6608763"/>
            <a:ext cx="27463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123378" y="13386"/>
            <a:ext cx="5450114" cy="509133"/>
          </a:xfrm>
        </p:spPr>
        <p:txBody>
          <a:bodyPr>
            <a:normAutofit/>
          </a:bodyPr>
          <a:lstStyle>
            <a:lvl1pPr algn="r">
              <a:defRPr sz="1400">
                <a:latin typeface="Arial" pitchFamily="34" charset="0"/>
                <a:cs typeface="Arial" pitchFamily="34" charset="0"/>
              </a:defRPr>
            </a:lvl1pPr>
          </a:lstStyle>
          <a:p>
            <a:r>
              <a:rPr lang="fr-FR" smtClean="0"/>
              <a:t>Cliquez pour modifier le style du titre</a:t>
            </a:r>
            <a:endParaRPr lang="fr-FR" dirty="0"/>
          </a:p>
        </p:txBody>
      </p:sp>
      <p:sp>
        <p:nvSpPr>
          <p:cNvPr id="21" name="Text Placeholder 4"/>
          <p:cNvSpPr>
            <a:spLocks noGrp="1"/>
          </p:cNvSpPr>
          <p:nvPr>
            <p:ph type="body" sz="quarter" idx="3"/>
          </p:nvPr>
        </p:nvSpPr>
        <p:spPr>
          <a:xfrm>
            <a:off x="5689608" y="0"/>
            <a:ext cx="2612564" cy="522514"/>
          </a:xfrm>
        </p:spPr>
        <p:txBody>
          <a:bodyPr anchor="ctr">
            <a:normAutofit/>
          </a:bodyPr>
          <a:lstStyle>
            <a:lvl1pPr marL="0" indent="0">
              <a:buNone/>
              <a:defRPr kumimoji="0" lang="en-US" sz="16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29" name="Text Placeholder 28"/>
          <p:cNvSpPr>
            <a:spLocks noGrp="1"/>
          </p:cNvSpPr>
          <p:nvPr>
            <p:ph type="body" sz="quarter" idx="23"/>
          </p:nvPr>
        </p:nvSpPr>
        <p:spPr>
          <a:xfrm>
            <a:off x="164012" y="508681"/>
            <a:ext cx="8138160" cy="710519"/>
          </a:xfrm>
        </p:spPr>
        <p:txBody>
          <a:bodyPr anchor="ctr">
            <a:normAutofit/>
          </a:bodyPr>
          <a:lstStyle>
            <a:lvl1pPr marL="0" indent="0" algn="r" rtl="1">
              <a:buNone/>
              <a:defRPr sz="1200">
                <a:latin typeface="Arial" pitchFamily="34" charset="0"/>
                <a:cs typeface="Arial" pitchFamily="34" charset="0"/>
              </a:defRPr>
            </a:lvl1pPr>
            <a:lvl2pPr>
              <a:buNone/>
              <a:defRPr/>
            </a:lvl2pPr>
          </a:lstStyle>
          <a:p>
            <a:pPr lvl="0"/>
            <a:r>
              <a:rPr lang="fr-FR" smtClean="0"/>
              <a:t>Cliquez pour modifier les styles du texte du masque</a:t>
            </a:r>
          </a:p>
        </p:txBody>
      </p:sp>
      <p:sp>
        <p:nvSpPr>
          <p:cNvPr id="13" name="Slide Number Placeholder 19"/>
          <p:cNvSpPr>
            <a:spLocks noGrp="1"/>
          </p:cNvSpPr>
          <p:nvPr>
            <p:ph type="sldNum" sz="quarter" idx="24"/>
          </p:nvPr>
        </p:nvSpPr>
        <p:spPr>
          <a:xfrm>
            <a:off x="188913" y="6524625"/>
            <a:ext cx="304800" cy="333375"/>
          </a:xfrm>
        </p:spPr>
        <p:txBody>
          <a:bodyPr rIns="0"/>
          <a:lstStyle>
            <a:lvl1pPr>
              <a:defRPr sz="1000">
                <a:solidFill>
                  <a:srgbClr val="008080"/>
                </a:solidFill>
                <a:latin typeface="Arial" panose="020B0604020202020204" pitchFamily="34" charset="0"/>
                <a:cs typeface="Arial" panose="020B0604020202020204" pitchFamily="34" charset="0"/>
              </a:defRPr>
            </a:lvl1pPr>
          </a:lstStyle>
          <a:p>
            <a:pPr>
              <a:defRPr/>
            </a:pPr>
            <a:fld id="{A0853FA1-15EA-4A70-9B9F-E6E04874AE15}" type="slidenum">
              <a:rPr lang="fr-FR" altLang="fr-FR"/>
              <a:pPr>
                <a:defRPr/>
              </a:pPr>
              <a:t>‹N°›</a:t>
            </a:fld>
            <a:endParaRPr lang="fr-FR" altLang="fr-FR"/>
          </a:p>
        </p:txBody>
      </p:sp>
    </p:spTree>
    <p:extLst>
      <p:ext uri="{BB962C8B-B14F-4D97-AF65-F5344CB8AC3E}">
        <p14:creationId xmlns:p14="http://schemas.microsoft.com/office/powerpoint/2010/main" val="32189039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86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AD7A4596-065C-44A0-9A2E-C5CAA50874CF}"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AB6D6267-363D-49F9-9F7B-CE5A3A5D2E52}" type="slidenum">
              <a:rPr lang="fr-FR" altLang="fr-FR"/>
              <a:pPr>
                <a:defRPr/>
              </a:pPr>
              <a:t>‹N°›</a:t>
            </a:fld>
            <a:endParaRPr lang="fr-FR" altLang="fr-FR"/>
          </a:p>
        </p:txBody>
      </p:sp>
    </p:spTree>
    <p:extLst>
      <p:ext uri="{BB962C8B-B14F-4D97-AF65-F5344CB8AC3E}">
        <p14:creationId xmlns:p14="http://schemas.microsoft.com/office/powerpoint/2010/main" val="167673942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3_Title Only">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892"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31517961-FC5F-454C-97B2-0AD43A14887D}"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AB6BDD60-E672-4DBC-A531-83D1F036BF4A}" type="slidenum">
              <a:rPr lang="fr-FR" altLang="fr-FR"/>
              <a:pPr>
                <a:defRPr/>
              </a:pPr>
              <a:t>‹N°›</a:t>
            </a:fld>
            <a:endParaRPr lang="fr-FR" altLang="fr-FR"/>
          </a:p>
        </p:txBody>
      </p:sp>
    </p:spTree>
    <p:extLst>
      <p:ext uri="{BB962C8B-B14F-4D97-AF65-F5344CB8AC3E}">
        <p14:creationId xmlns:p14="http://schemas.microsoft.com/office/powerpoint/2010/main" val="42553890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52833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8"/>
          <p:cNvSpPr>
            <a:spLocks noGrp="1" noChangeArrowheads="1"/>
          </p:cNvSpPr>
          <p:nvPr>
            <p:ph type="ftr" sz="quarter" idx="10"/>
          </p:nvPr>
        </p:nvSpPr>
        <p:spPr>
          <a:xfrm>
            <a:off x="1116013" y="6454775"/>
            <a:ext cx="5976937" cy="244475"/>
          </a:xfrm>
          <a:prstGeom prst="rect">
            <a:avLst/>
          </a:prstGeom>
        </p:spPr>
        <p:txBody>
          <a:bodyPr/>
          <a:lstStyle>
            <a:lvl1pPr eaLnBrk="1" hangingPunct="1">
              <a:defRPr>
                <a:solidFill>
                  <a:srgbClr val="0077A9"/>
                </a:solidFill>
              </a:defRPr>
            </a:lvl1pPr>
          </a:lstStyle>
          <a:p>
            <a:pPr>
              <a:defRPr/>
            </a:pPr>
            <a:r>
              <a:rPr lang="fr-FR"/>
              <a:t>Document de travail </a:t>
            </a:r>
            <a:r>
              <a:rPr lang="en-GB"/>
              <a:t>:</a:t>
            </a:r>
            <a:r>
              <a:rPr lang="fr-FR"/>
              <a:t>Pacte national pour la performance industrielle –MIE/PME</a:t>
            </a:r>
            <a:r>
              <a:rPr lang="en-US"/>
              <a:t> – All Rights Reserved – Ernst &amp; Young 2009</a:t>
            </a:r>
          </a:p>
          <a:p>
            <a:pPr>
              <a:defRPr/>
            </a:pPr>
            <a:endParaRPr lang="en-GB"/>
          </a:p>
        </p:txBody>
      </p:sp>
    </p:spTree>
    <p:extLst>
      <p:ext uri="{BB962C8B-B14F-4D97-AF65-F5344CB8AC3E}">
        <p14:creationId xmlns:p14="http://schemas.microsoft.com/office/powerpoint/2010/main" val="3882372333"/>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pic>
        <p:nvPicPr>
          <p:cNvPr id="4" name="Image 3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3050" y="6532563"/>
            <a:ext cx="25209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789067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6323718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819115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Tree>
    <p:extLst>
      <p:ext uri="{BB962C8B-B14F-4D97-AF65-F5344CB8AC3E}">
        <p14:creationId xmlns:p14="http://schemas.microsoft.com/office/powerpoint/2010/main" val="15795334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fr-FR" sz="3200" smtClean="0">
                <a:solidFill>
                  <a:srgbClr val="FFFFFF"/>
                </a:solidFill>
                <a:latin typeface="Calibri"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34121934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a:t>Cliquez pour modifier le style du titre</a:t>
            </a:r>
          </a:p>
        </p:txBody>
      </p:sp>
    </p:spTree>
    <p:extLst>
      <p:ext uri="{BB962C8B-B14F-4D97-AF65-F5344CB8AC3E}">
        <p14:creationId xmlns:p14="http://schemas.microsoft.com/office/powerpoint/2010/main" val="350951253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pour modifier le style du titre</a:t>
            </a:r>
          </a:p>
        </p:txBody>
      </p:sp>
      <p:sp>
        <p:nvSpPr>
          <p:cNvPr id="3" name="Espace réservé du texte vertical 2"/>
          <p:cNvSpPr>
            <a:spLocks noGrp="1"/>
          </p:cNvSpPr>
          <p:nvPr>
            <p:ph type="body" orient="vert"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913686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1799466262"/>
      </p:ext>
    </p:extLst>
  </p:cSld>
  <p:clrMapOvr>
    <a:masterClrMapping/>
  </p:clrMapOvr>
  <p:transition advClick="0" advTm="3000">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5143" y="1932683"/>
            <a:ext cx="7311615" cy="1333580"/>
          </a:xfrm>
        </p:spPr>
        <p:txBody>
          <a:bodyPr/>
          <a:lstStyle/>
          <a:p>
            <a:r>
              <a:rPr lang="en-US"/>
              <a:t>Click to edit Master title style</a:t>
            </a:r>
          </a:p>
        </p:txBody>
      </p:sp>
      <p:sp>
        <p:nvSpPr>
          <p:cNvPr id="3" name="Subtitle 2"/>
          <p:cNvSpPr>
            <a:spLocks noGrp="1"/>
          </p:cNvSpPr>
          <p:nvPr>
            <p:ph type="subTitle" idx="1"/>
          </p:nvPr>
        </p:nvSpPr>
        <p:spPr>
          <a:xfrm>
            <a:off x="1290285" y="3525490"/>
            <a:ext cx="6021330" cy="1589927"/>
          </a:xfrm>
        </p:spPr>
        <p:txBody>
          <a:bodyPr/>
          <a:lstStyle>
            <a:lvl1pPr marL="0" indent="0" algn="ctr">
              <a:buNone/>
              <a:defRPr>
                <a:solidFill>
                  <a:schemeClr val="tx1">
                    <a:tint val="75000"/>
                  </a:schemeClr>
                </a:solidFill>
              </a:defRPr>
            </a:lvl1pPr>
            <a:lvl2pPr marL="423367" indent="0" algn="ctr">
              <a:buNone/>
              <a:defRPr>
                <a:solidFill>
                  <a:schemeClr val="tx1">
                    <a:tint val="75000"/>
                  </a:schemeClr>
                </a:solidFill>
              </a:defRPr>
            </a:lvl2pPr>
            <a:lvl3pPr marL="846734" indent="0" algn="ctr">
              <a:buNone/>
              <a:defRPr>
                <a:solidFill>
                  <a:schemeClr val="tx1">
                    <a:tint val="75000"/>
                  </a:schemeClr>
                </a:solidFill>
              </a:defRPr>
            </a:lvl3pPr>
            <a:lvl4pPr marL="1270102" indent="0" algn="ctr">
              <a:buNone/>
              <a:defRPr>
                <a:solidFill>
                  <a:schemeClr val="tx1">
                    <a:tint val="75000"/>
                  </a:schemeClr>
                </a:solidFill>
              </a:defRPr>
            </a:lvl4pPr>
            <a:lvl5pPr marL="1693469" indent="0" algn="ctr">
              <a:buNone/>
              <a:defRPr>
                <a:solidFill>
                  <a:schemeClr val="tx1">
                    <a:tint val="75000"/>
                  </a:schemeClr>
                </a:solidFill>
              </a:defRPr>
            </a:lvl5pPr>
            <a:lvl6pPr marL="2116836" indent="0" algn="ctr">
              <a:buNone/>
              <a:defRPr>
                <a:solidFill>
                  <a:schemeClr val="tx1">
                    <a:tint val="75000"/>
                  </a:schemeClr>
                </a:solidFill>
              </a:defRPr>
            </a:lvl6pPr>
            <a:lvl7pPr marL="2540203" indent="0" algn="ctr">
              <a:buNone/>
              <a:defRPr>
                <a:solidFill>
                  <a:schemeClr val="tx1">
                    <a:tint val="75000"/>
                  </a:schemeClr>
                </a:solidFill>
              </a:defRPr>
            </a:lvl7pPr>
            <a:lvl8pPr marL="2963570" indent="0" algn="ctr">
              <a:buNone/>
              <a:defRPr>
                <a:solidFill>
                  <a:schemeClr val="tx1">
                    <a:tint val="75000"/>
                  </a:schemeClr>
                </a:solidFill>
              </a:defRPr>
            </a:lvl8pPr>
            <a:lvl9pPr marL="338693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fld id="{A67C9FE4-D6AB-4E0D-8D39-B837E2659596}" type="datetimeFigureOut">
              <a:rPr lang="en-US"/>
              <a:pPr>
                <a:defRPr/>
              </a:pPr>
              <a:t>9/27/2018</a:t>
            </a:fld>
            <a:endParaRPr lang="en-US"/>
          </a:p>
        </p:txBody>
      </p:sp>
      <p:sp>
        <p:nvSpPr>
          <p:cNvPr id="5" name="Footer Placeholder 4"/>
          <p:cNvSpPr>
            <a:spLocks noGrp="1"/>
          </p:cNvSpPr>
          <p:nvPr>
            <p:ph type="ftr" sz="quarter" idx="11"/>
          </p:nvPr>
        </p:nvSpPr>
        <p:spPr>
          <a:xfrm>
            <a:off x="2938463" y="5765800"/>
            <a:ext cx="2724150" cy="331788"/>
          </a:xfrm>
          <a:prstGeom prst="rect">
            <a:avLst/>
          </a:prstGeom>
        </p:spPr>
        <p:txBody>
          <a:bodyPr lIns="84673" tIns="42337" rIns="84673" bIns="42337"/>
          <a:lstStyle>
            <a:lvl1pPr eaLnBrk="1" hangingPunct="1">
              <a:spcBef>
                <a:spcPct val="50000"/>
              </a:spcBef>
              <a:defRPr>
                <a:solidFill>
                  <a:srgbClr val="981150"/>
                </a:solidFill>
                <a:latin typeface="Arial" charset="0"/>
              </a:defRPr>
            </a:lvl1pPr>
          </a:lstStyle>
          <a:p>
            <a:pPr>
              <a:defRPr/>
            </a:pPr>
            <a:endParaRPr lang="en-US"/>
          </a:p>
        </p:txBody>
      </p:sp>
      <p:sp>
        <p:nvSpPr>
          <p:cNvPr id="6" name="Slide Number Placeholder 5"/>
          <p:cNvSpPr>
            <a:spLocks noGrp="1"/>
          </p:cNvSpPr>
          <p:nvPr>
            <p:ph type="sldNum" sz="quarter" idx="12"/>
          </p:nvPr>
        </p:nvSpPr>
        <p:spPr>
          <a:xfrm>
            <a:off x="6164263" y="5765800"/>
            <a:ext cx="2008187" cy="331788"/>
          </a:xfrm>
          <a:prstGeom prst="rect">
            <a:avLst/>
          </a:prstGeom>
        </p:spPr>
        <p:txBody>
          <a:bodyPr vert="horz" wrap="square" lIns="84673" tIns="42337" rIns="84673" bIns="42337" numCol="1" anchor="t" anchorCtr="0" compatLnSpc="1">
            <a:prstTxWarp prst="textNoShape">
              <a:avLst/>
            </a:prstTxWarp>
          </a:bodyPr>
          <a:lstStyle>
            <a:lvl1pPr eaLnBrk="1" hangingPunct="1">
              <a:spcBef>
                <a:spcPct val="50000"/>
              </a:spcBef>
              <a:defRPr>
                <a:solidFill>
                  <a:srgbClr val="981150"/>
                </a:solidFill>
                <a:latin typeface="Century Gothic" panose="020B0502020202020204" pitchFamily="34" charset="0"/>
              </a:defRPr>
            </a:lvl1pPr>
          </a:lstStyle>
          <a:p>
            <a:pPr>
              <a:defRPr/>
            </a:pPr>
            <a:fld id="{49C51D3D-64EC-4A02-BB9C-E23CFFCD09D2}" type="slidenum">
              <a:rPr lang="en-US" altLang="fr-FR"/>
              <a:pPr>
                <a:defRPr/>
              </a:pPr>
              <a:t>‹N°›</a:t>
            </a:fld>
            <a:endParaRPr lang="en-US" altLang="fr-FR"/>
          </a:p>
        </p:txBody>
      </p:sp>
    </p:spTree>
    <p:extLst>
      <p:ext uri="{BB962C8B-B14F-4D97-AF65-F5344CB8AC3E}">
        <p14:creationId xmlns:p14="http://schemas.microsoft.com/office/powerpoint/2010/main" val="3678800122"/>
      </p:ext>
    </p:extLst>
  </p:cSld>
  <p:clrMapOvr>
    <a:masterClrMapping/>
  </p:clrMapOvr>
  <p:transition advClick="0" advTm="3000">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84213" y="630238"/>
            <a:ext cx="7991475" cy="1143000"/>
          </a:xfrm>
        </p:spPr>
        <p:txBody>
          <a:bodyPr/>
          <a:lstStyle/>
          <a:p>
            <a:r>
              <a:rPr lang="en-US"/>
              <a:t>Click to edit Master title style</a:t>
            </a:r>
            <a:endParaRPr lang="en-GB"/>
          </a:p>
        </p:txBody>
      </p:sp>
      <p:sp>
        <p:nvSpPr>
          <p:cNvPr id="3" name="Content Placeholder 2"/>
          <p:cNvSpPr>
            <a:spLocks noGrp="1"/>
          </p:cNvSpPr>
          <p:nvPr>
            <p:ph sz="quarter" idx="1"/>
          </p:nvPr>
        </p:nvSpPr>
        <p:spPr>
          <a:xfrm>
            <a:off x="755650" y="1916113"/>
            <a:ext cx="3883025" cy="2084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91075" y="1916113"/>
            <a:ext cx="3884613" cy="2084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755650" y="4152900"/>
            <a:ext cx="3883025" cy="2084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4791075" y="4152900"/>
            <a:ext cx="3884613" cy="2084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2472846808"/>
      </p:ext>
    </p:extLst>
  </p:cSld>
  <p:clrMapOvr>
    <a:masterClrMapping/>
  </p:clrMapOvr>
  <p:transition advClick="0" advTm="300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6705975"/>
      </p:ext>
    </p:extLst>
  </p:cSld>
  <p:clrMapOvr>
    <a:masterClrMapping/>
  </p:clrMapOvr>
  <p:transition spd="med">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567340"/>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0031723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9184168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5" name="Rectangle 4"/>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09431523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7" name="Rectangle 6"/>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96235597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3" name="Rectangle 2"/>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24653369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1" hangingPunct="1">
              <a:defRPr/>
            </a:pPr>
            <a:r>
              <a:rPr lang="fr-FR" sz="3200" smtClean="0">
                <a:solidFill>
                  <a:srgbClr val="FFFFFF"/>
                </a:solidFill>
              </a:rPr>
              <a:t>Cliquez pour modifier le style du titre</a:t>
            </a:r>
          </a:p>
        </p:txBody>
      </p:sp>
      <p:sp>
        <p:nvSpPr>
          <p:cNvPr id="6" name="Rectangle 5"/>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5946371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2235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6302059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extplatzhalter 11"/>
          <p:cNvSpPr>
            <a:spLocks noGrp="1"/>
          </p:cNvSpPr>
          <p:nvPr>
            <p:ph type="body" sz="quarter" idx="14"/>
          </p:nvPr>
        </p:nvSpPr>
        <p:spPr>
          <a:xfrm>
            <a:off x="2577933" y="6506670"/>
            <a:ext cx="6026806" cy="219840"/>
          </a:xfrm>
        </p:spPr>
        <p:txBody>
          <a:bodyPr anchor="b">
            <a:spAutoFit/>
          </a:bodyPr>
          <a:lstStyle>
            <a:lvl1pPr marL="0" indent="0" algn="r">
              <a:lnSpc>
                <a:spcPct val="90000"/>
              </a:lnSpc>
              <a:buFontTx/>
              <a:buNone/>
              <a:defRPr sz="900">
                <a:solidFill>
                  <a:srgbClr val="5F5F5F"/>
                </a:solidFill>
              </a:defRPr>
            </a:lvl1pPr>
          </a:lstStyle>
          <a:p>
            <a:pPr lvl="0"/>
            <a:r>
              <a:rPr lang="fr-FR" smtClean="0"/>
              <a:t>Modifiez les styles du texte du masque</a:t>
            </a:r>
          </a:p>
        </p:txBody>
      </p:sp>
      <p:sp>
        <p:nvSpPr>
          <p:cNvPr id="11" name="Title 1"/>
          <p:cNvSpPr>
            <a:spLocks noGrp="1"/>
          </p:cNvSpPr>
          <p:nvPr>
            <p:ph type="title"/>
          </p:nvPr>
        </p:nvSpPr>
        <p:spPr>
          <a:xfrm>
            <a:off x="573452" y="-491317"/>
            <a:ext cx="7200900" cy="1036850"/>
          </a:xfrm>
        </p:spPr>
        <p:txBody>
          <a:bodyPr anchor="b">
            <a:normAutofit/>
          </a:bodyPr>
          <a:lstStyle>
            <a:lvl1pPr>
              <a:defRPr sz="2100"/>
            </a:lvl1pPr>
          </a:lstStyle>
          <a:p>
            <a:r>
              <a:rPr lang="fr-FR" dirty="0"/>
              <a:t>Modifiez le style du titre</a:t>
            </a:r>
            <a:endParaRPr lang="en-US" dirty="0"/>
          </a:p>
        </p:txBody>
      </p:sp>
      <p:sp>
        <p:nvSpPr>
          <p:cNvPr id="4" name="Datumsplatzhalter 2"/>
          <p:cNvSpPr>
            <a:spLocks noGrp="1"/>
          </p:cNvSpPr>
          <p:nvPr>
            <p:ph type="dt" sz="half" idx="15"/>
          </p:nvPr>
        </p:nvSpPr>
        <p:spPr>
          <a:xfrm>
            <a:off x="1116013" y="6580188"/>
            <a:ext cx="990600" cy="138112"/>
          </a:xfrm>
          <a:prstGeom prst="rect">
            <a:avLst/>
          </a:prstGeom>
        </p:spPr>
        <p:txBody>
          <a:bodyPr lIns="91431" tIns="45715" rIns="91431" bIns="45715"/>
          <a:lstStyle>
            <a:lvl1pPr>
              <a:defRPr sz="900">
                <a:solidFill>
                  <a:srgbClr val="0F2F45">
                    <a:tint val="75000"/>
                  </a:srgbClr>
                </a:solidFill>
                <a:latin typeface="Calibri" pitchFamily="34" charset="0"/>
                <a:cs typeface="+mn-cs"/>
              </a:defRPr>
            </a:lvl1pPr>
          </a:lstStyle>
          <a:p>
            <a:pPr>
              <a:defRPr/>
            </a:pPr>
            <a:fld id="{14071761-B243-4012-B37D-DE17CEB554DE}" type="datetime1">
              <a:rPr lang="en-US"/>
              <a:pPr>
                <a:defRPr/>
              </a:pPr>
              <a:t>9/27/2018</a:t>
            </a:fld>
            <a:endParaRPr lang="de-CH" dirty="0"/>
          </a:p>
        </p:txBody>
      </p:sp>
      <p:sp>
        <p:nvSpPr>
          <p:cNvPr id="5" name="Fußzeilenplatzhalter 3"/>
          <p:cNvSpPr>
            <a:spLocks noGrp="1"/>
          </p:cNvSpPr>
          <p:nvPr>
            <p:ph type="ftr" sz="quarter" idx="16"/>
          </p:nvPr>
        </p:nvSpPr>
        <p:spPr>
          <a:xfrm>
            <a:off x="3667125" y="6602413"/>
            <a:ext cx="1809750" cy="139700"/>
          </a:xfrm>
          <a:prstGeom prst="rect">
            <a:avLst/>
          </a:prstGeom>
        </p:spPr>
        <p:txBody>
          <a:bodyPr lIns="81272" tIns="40636" rIns="81272" bIns="40636"/>
          <a:lstStyle>
            <a:lvl1pPr algn="ctr">
              <a:defRPr sz="900" i="1">
                <a:solidFill>
                  <a:srgbClr val="F19C05">
                    <a:lumMod val="50000"/>
                  </a:srgbClr>
                </a:solidFill>
                <a:latin typeface="Calibri" pitchFamily="34" charset="0"/>
                <a:cs typeface="+mn-cs"/>
              </a:defRPr>
            </a:lvl1pPr>
          </a:lstStyle>
          <a:p>
            <a:pPr>
              <a:defRPr/>
            </a:pPr>
            <a:r>
              <a:rPr lang="en-US"/>
              <a:t>Tunisia Economic &amp; Investment Forum | Tunis - 2016</a:t>
            </a:r>
            <a:endParaRPr lang="de-CH" dirty="0"/>
          </a:p>
        </p:txBody>
      </p:sp>
      <p:sp>
        <p:nvSpPr>
          <p:cNvPr id="7" name="Slide Number Placeholder 3"/>
          <p:cNvSpPr>
            <a:spLocks noGrp="1"/>
          </p:cNvSpPr>
          <p:nvPr>
            <p:ph type="sldNum" sz="quarter" idx="17"/>
          </p:nvPr>
        </p:nvSpPr>
        <p:spPr>
          <a:xfrm>
            <a:off x="374650" y="6510338"/>
            <a:ext cx="1028700" cy="274637"/>
          </a:xfrm>
          <a:prstGeom prst="rect">
            <a:avLst/>
          </a:prstGeom>
        </p:spPr>
        <p:txBody>
          <a:bodyPr vert="horz" wrap="square" lIns="81272" tIns="40636" rIns="81272" bIns="40636" numCol="1" anchor="t" anchorCtr="0" compatLnSpc="1">
            <a:prstTxWarp prst="textNoShape">
              <a:avLst/>
            </a:prstTxWarp>
          </a:bodyPr>
          <a:lstStyle>
            <a:lvl1pPr>
              <a:defRPr sz="1200">
                <a:solidFill>
                  <a:srgbClr val="C00000"/>
                </a:solidFill>
                <a:latin typeface="Calibri" panose="020F0502020204030204" pitchFamily="34" charset="0"/>
              </a:defRPr>
            </a:lvl1pPr>
          </a:lstStyle>
          <a:p>
            <a:pPr>
              <a:defRPr/>
            </a:pPr>
            <a:fld id="{EA3F7087-A9E9-49BA-8895-C957A6A546E5}" type="slidenum">
              <a:rPr lang="en-US" altLang="fr-FR"/>
              <a:pPr>
                <a:defRPr/>
              </a:pPr>
              <a:t>‹N°›</a:t>
            </a:fld>
            <a:endParaRPr lang="en-US" altLang="fr-FR"/>
          </a:p>
        </p:txBody>
      </p:sp>
    </p:spTree>
    <p:extLst>
      <p:ext uri="{BB962C8B-B14F-4D97-AF65-F5344CB8AC3E}">
        <p14:creationId xmlns:p14="http://schemas.microsoft.com/office/powerpoint/2010/main" val="32117449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469895939"/>
      </p:ext>
    </p:extLst>
  </p:cSld>
  <p:clrMapOvr>
    <a:masterClrMapping/>
  </p:clrMapOvr>
  <p:transition spd="med">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1_Diapositive de titr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916"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027988" y="11113"/>
            <a:ext cx="973137"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0" y="171450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FFFFF"/>
              </a:solidFill>
            </a:endParaRPr>
          </a:p>
        </p:txBody>
      </p:sp>
      <p:sp>
        <p:nvSpPr>
          <p:cNvPr id="7" name="Rectangle 9"/>
          <p:cNvSpPr>
            <a:spLocks noChangeArrowheads="1"/>
          </p:cNvSpPr>
          <p:nvPr/>
        </p:nvSpPr>
        <p:spPr bwMode="auto">
          <a:xfrm>
            <a:off x="3500438" y="428625"/>
            <a:ext cx="4572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ar-TN" altLang="fr-FR" b="1" smtClean="0">
                <a:solidFill>
                  <a:srgbClr val="000000"/>
                </a:solidFill>
                <a:latin typeface="Century Gothic" panose="020B0502020202020204" pitchFamily="34" charset="0"/>
                <a:cs typeface="Simplified Arabic" panose="02020603050405020304" pitchFamily="18" charset="-78"/>
              </a:rPr>
              <a:t>الجمهورية التونسية</a:t>
            </a:r>
            <a:br>
              <a:rPr lang="ar-TN" altLang="fr-FR" b="1" smtClean="0">
                <a:solidFill>
                  <a:srgbClr val="000000"/>
                </a:solidFill>
                <a:latin typeface="Century Gothic" panose="020B0502020202020204" pitchFamily="34" charset="0"/>
                <a:cs typeface="Simplified Arabic" panose="02020603050405020304" pitchFamily="18" charset="-78"/>
              </a:rPr>
            </a:br>
            <a:r>
              <a:rPr lang="ar-TN" altLang="fr-FR" b="1" smtClean="0">
                <a:solidFill>
                  <a:srgbClr val="000000"/>
                </a:solidFill>
                <a:latin typeface="Century Gothic" panose="020B0502020202020204" pitchFamily="34" charset="0"/>
                <a:cs typeface="Simplified Arabic" panose="02020603050405020304" pitchFamily="18" charset="-78"/>
              </a:rPr>
              <a:t>وزارة التنمية والاستثمار والتعاون الدولي</a:t>
            </a:r>
            <a:endParaRPr lang="fr-FR" altLang="fr-FR" b="1" smtClean="0">
              <a:solidFill>
                <a:srgbClr val="000000"/>
              </a:solidFill>
              <a:latin typeface="Century Gothic" panose="020B0502020202020204" pitchFamily="34" charset="0"/>
              <a:cs typeface="Simplified Arabic" panose="02020603050405020304" pitchFamily="18" charset="-78"/>
            </a:endParaRPr>
          </a:p>
        </p:txBody>
      </p:sp>
      <p:sp>
        <p:nvSpPr>
          <p:cNvPr id="3" name="Sous-titre 2"/>
          <p:cNvSpPr>
            <a:spLocks noGrp="1"/>
          </p:cNvSpPr>
          <p:nvPr>
            <p:ph type="subTitle" idx="1"/>
          </p:nvPr>
        </p:nvSpPr>
        <p:spPr>
          <a:xfrm>
            <a:off x="1371600" y="2747970"/>
            <a:ext cx="6400800" cy="1752600"/>
          </a:xfrm>
        </p:spPr>
        <p:txBody>
          <a:bodyPr rtlCol="0">
            <a:normAutofit/>
          </a:bodyPr>
          <a:lstStyle>
            <a:lvl1pPr marL="0" indent="0" algn="ctr" defTabSz="914400" rtl="1" eaLnBrk="1" latinLnBrk="0" hangingPunct="1">
              <a:spcBef>
                <a:spcPct val="20000"/>
              </a:spcBef>
              <a:buFont typeface="Arial" pitchFamily="34" charset="0"/>
              <a:buNone/>
              <a:defRPr lang="fr-BE" sz="3200" b="1" kern="1200" dirty="0">
                <a:solidFill>
                  <a:srgbClr val="FF0000"/>
                </a:solidFill>
                <a:latin typeface="Century Gothic"/>
                <a:ea typeface="+mn-ea"/>
                <a:cs typeface="Century Gothic"/>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BE" dirty="0"/>
          </a:p>
        </p:txBody>
      </p:sp>
      <p:sp>
        <p:nvSpPr>
          <p:cNvPr id="8" name="Espace réservé de la date 3"/>
          <p:cNvSpPr>
            <a:spLocks noGrp="1"/>
          </p:cNvSpPr>
          <p:nvPr>
            <p:ph type="dt" sz="half" idx="10"/>
          </p:nvPr>
        </p:nvSpPr>
        <p:spPr>
          <a:xfrm>
            <a:off x="3503613" y="5483225"/>
            <a:ext cx="2133600" cy="400050"/>
          </a:xfrm>
        </p:spPr>
        <p:txBody>
          <a:bodyPr wrap="square">
            <a:spAutoFit/>
          </a:bodyPr>
          <a:lstStyle>
            <a:lvl1pPr marL="0" algn="ctr" defTabSz="914400" rtl="1" eaLnBrk="1" latinLnBrk="0" hangingPunct="1">
              <a:defRPr lang="fr-BE" sz="2000" b="1" kern="1200">
                <a:solidFill>
                  <a:srgbClr val="000000"/>
                </a:solidFill>
                <a:latin typeface="Century Gothic"/>
                <a:ea typeface="+mn-ea"/>
                <a:cs typeface="Century Gothic"/>
              </a:defRPr>
            </a:lvl1pPr>
          </a:lstStyle>
          <a:p>
            <a:pPr>
              <a:defRPr/>
            </a:pPr>
            <a:fld id="{4A8189EB-7BD8-40B5-8652-70CDBDED9B83}" type="datetimeFigureOut">
              <a:rPr lang="fr-FR"/>
              <a:pPr>
                <a:defRPr/>
              </a:pPr>
              <a:t>27/09/2018</a:t>
            </a:fld>
            <a:endParaRPr lang="fr-FR"/>
          </a:p>
        </p:txBody>
      </p:sp>
    </p:spTree>
    <p:extLst>
      <p:ext uri="{BB962C8B-B14F-4D97-AF65-F5344CB8AC3E}">
        <p14:creationId xmlns:p14="http://schemas.microsoft.com/office/powerpoint/2010/main" val="15753260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74981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28_Title and Content">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94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Connecteur droit 9"/>
          <p:cNvCxnSpPr/>
          <p:nvPr/>
        </p:nvCxnSpPr>
        <p:spPr>
          <a:xfrm>
            <a:off x="152400" y="538163"/>
            <a:ext cx="813752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 name="Connecteur droit 17"/>
          <p:cNvCxnSpPr/>
          <p:nvPr/>
        </p:nvCxnSpPr>
        <p:spPr>
          <a:xfrm>
            <a:off x="152400" y="6354763"/>
            <a:ext cx="8763000"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Connecteur droit 7"/>
          <p:cNvCxnSpPr/>
          <p:nvPr/>
        </p:nvCxnSpPr>
        <p:spPr>
          <a:xfrm rot="5400000">
            <a:off x="5391150" y="274638"/>
            <a:ext cx="54927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ZoneTexte 9"/>
          <p:cNvSpPr txBox="1">
            <a:spLocks noChangeArrowheads="1"/>
          </p:cNvSpPr>
          <p:nvPr/>
        </p:nvSpPr>
        <p:spPr bwMode="auto">
          <a:xfrm>
            <a:off x="6215063" y="6400800"/>
            <a:ext cx="2520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lgn="r" eaLnBrk="1" hangingPunct="1">
              <a:defRPr/>
            </a:pPr>
            <a:r>
              <a:rPr lang="ar-TN" sz="1000" b="1" smtClean="0">
                <a:solidFill>
                  <a:srgbClr val="898989"/>
                </a:solidFill>
                <a:latin typeface="Century Gothic" pitchFamily="34" charset="0"/>
              </a:rPr>
              <a:t>الجمهورية التونسية</a:t>
            </a:r>
            <a:br>
              <a:rPr lang="ar-TN" sz="1000" b="1" smtClean="0">
                <a:solidFill>
                  <a:srgbClr val="898989"/>
                </a:solidFill>
                <a:latin typeface="Century Gothic" pitchFamily="34" charset="0"/>
              </a:rPr>
            </a:br>
            <a:r>
              <a:rPr lang="ar-TN" sz="1000" b="1" smtClean="0">
                <a:solidFill>
                  <a:srgbClr val="898989"/>
                </a:solidFill>
                <a:latin typeface="Century Gothic" pitchFamily="34" charset="0"/>
              </a:rPr>
              <a:t>وزارة التنمية والاستثمار والتعاون الدولي</a:t>
            </a:r>
            <a:endParaRPr lang="fr-BE" sz="1000" smtClean="0">
              <a:solidFill>
                <a:srgbClr val="898989"/>
              </a:solidFill>
              <a:latin typeface="Century Gothic" pitchFamily="34" charset="0"/>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729663" y="6357938"/>
            <a:ext cx="365125"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Espace réservé du numéro de diapositive 5"/>
          <p:cNvSpPr txBox="1">
            <a:spLocks/>
          </p:cNvSpPr>
          <p:nvPr/>
        </p:nvSpPr>
        <p:spPr>
          <a:xfrm>
            <a:off x="428625" y="6418263"/>
            <a:ext cx="625475"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D2ABF110-1928-4E23-8B6F-6ADDDA99EC43}" type="slidenum">
              <a:rPr lang="fr-BE" altLang="fr-FR" sz="1000" smtClean="0">
                <a:solidFill>
                  <a:srgbClr val="E51B2E"/>
                </a:solidFill>
              </a:rPr>
              <a:pPr algn="ctr" eaLnBrk="1" hangingPunct="1">
                <a:defRPr/>
              </a:pPr>
              <a:t>‹N°›</a:t>
            </a:fld>
            <a:endParaRPr lang="fr-BE" altLang="fr-FR" sz="1000" smtClean="0">
              <a:solidFill>
                <a:srgbClr val="E51B2E"/>
              </a:solidFill>
            </a:endParaRPr>
          </a:p>
        </p:txBody>
      </p:sp>
      <p:sp>
        <p:nvSpPr>
          <p:cNvPr id="12" name="Title 1"/>
          <p:cNvSpPr>
            <a:spLocks noGrp="1"/>
          </p:cNvSpPr>
          <p:nvPr>
            <p:ph type="title"/>
          </p:nvPr>
        </p:nvSpPr>
        <p:spPr>
          <a:xfrm>
            <a:off x="123378" y="13386"/>
            <a:ext cx="5450114" cy="509133"/>
          </a:xfrm>
        </p:spPr>
        <p:txBody>
          <a:bodyPr>
            <a:normAutofit/>
          </a:bodyPr>
          <a:lstStyle>
            <a:lvl1pPr algn="r">
              <a:defRPr sz="1400">
                <a:latin typeface="Arial" pitchFamily="34" charset="0"/>
                <a:cs typeface="Arial" pitchFamily="34" charset="0"/>
              </a:defRPr>
            </a:lvl1pPr>
          </a:lstStyle>
          <a:p>
            <a:r>
              <a:rPr lang="fr-FR" smtClean="0"/>
              <a:t>Cliquez pour modifier le style du titre</a:t>
            </a:r>
            <a:endParaRPr lang="fr-FR" dirty="0"/>
          </a:p>
        </p:txBody>
      </p:sp>
      <p:sp>
        <p:nvSpPr>
          <p:cNvPr id="21" name="Text Placeholder 4"/>
          <p:cNvSpPr>
            <a:spLocks noGrp="1"/>
          </p:cNvSpPr>
          <p:nvPr>
            <p:ph type="body" sz="quarter" idx="3"/>
          </p:nvPr>
        </p:nvSpPr>
        <p:spPr>
          <a:xfrm>
            <a:off x="5689608" y="0"/>
            <a:ext cx="2612564" cy="522514"/>
          </a:xfrm>
        </p:spPr>
        <p:txBody>
          <a:bodyPr anchor="ctr">
            <a:normAutofit/>
          </a:bodyPr>
          <a:lstStyle>
            <a:lvl1pPr marL="0" indent="0">
              <a:buNone/>
              <a:defRPr kumimoji="0" lang="en-US" sz="16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29" name="Text Placeholder 28"/>
          <p:cNvSpPr>
            <a:spLocks noGrp="1"/>
          </p:cNvSpPr>
          <p:nvPr>
            <p:ph type="body" sz="quarter" idx="23"/>
          </p:nvPr>
        </p:nvSpPr>
        <p:spPr>
          <a:xfrm>
            <a:off x="164012" y="508681"/>
            <a:ext cx="8138160" cy="710519"/>
          </a:xfrm>
        </p:spPr>
        <p:txBody>
          <a:bodyPr anchor="ctr">
            <a:normAutofit/>
          </a:bodyPr>
          <a:lstStyle>
            <a:lvl1pPr marL="0" indent="0" algn="r" rtl="1">
              <a:buNone/>
              <a:defRPr sz="1200">
                <a:latin typeface="Arial" pitchFamily="34" charset="0"/>
                <a:cs typeface="Arial" pitchFamily="34" charset="0"/>
              </a:defRPr>
            </a:lvl1pPr>
            <a:lvl2pPr>
              <a:buNone/>
              <a:defRPr/>
            </a:lvl2pPr>
          </a:lstStyle>
          <a:p>
            <a:pPr lvl="0"/>
            <a:r>
              <a:rPr lang="fr-FR" smtClean="0"/>
              <a:t>Cliquez pour modifier les styles du texte du masque</a:t>
            </a:r>
          </a:p>
        </p:txBody>
      </p:sp>
    </p:spTree>
    <p:extLst>
      <p:ext uri="{BB962C8B-B14F-4D97-AF65-F5344CB8AC3E}">
        <p14:creationId xmlns:p14="http://schemas.microsoft.com/office/powerpoint/2010/main" val="27462335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obj">
  <p:cSld name="Titre et contenu">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5946775"/>
            <a:ext cx="1581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5715" rIns="0" bIns="45715" anchor="b"/>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spcAft>
                <a:spcPct val="10000"/>
              </a:spcAft>
              <a:defRPr/>
            </a:pPr>
            <a:endParaRPr lang="en-GB" altLang="ja-JP" sz="1200" b="1" smtClean="0">
              <a:solidFill>
                <a:srgbClr val="FF0000"/>
              </a:solidFill>
              <a:ea typeface="MS PGothic" pitchFamily="34" charset="-128"/>
            </a:endParaRPr>
          </a:p>
        </p:txBody>
      </p:sp>
      <p:grpSp>
        <p:nvGrpSpPr>
          <p:cNvPr id="5" name="Group 4" hidden="1"/>
          <p:cNvGrpSpPr>
            <a:grpSpLocks/>
          </p:cNvGrpSpPr>
          <p:nvPr>
            <p:custDataLst>
              <p:tags r:id="rId1"/>
            </p:custDataLst>
          </p:nvPr>
        </p:nvGrpSpPr>
        <p:grpSpPr bwMode="auto">
          <a:xfrm>
            <a:off x="-14288" y="-31750"/>
            <a:ext cx="9172576" cy="6858000"/>
            <a:chOff x="-10" y="-20"/>
            <a:chExt cx="6260" cy="4320"/>
          </a:xfrm>
        </p:grpSpPr>
        <p:sp>
          <p:nvSpPr>
            <p:cNvPr id="6" name="Line 5" hidden="1"/>
            <p:cNvSpPr>
              <a:spLocks noChangeShapeType="1"/>
            </p:cNvSpPr>
            <p:nvPr/>
          </p:nvSpPr>
          <p:spPr bwMode="auto">
            <a:xfrm rot="-5400000">
              <a:off x="3109" y="-2372"/>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 name="Line 6" hidden="1"/>
            <p:cNvSpPr>
              <a:spLocks noChangeShapeType="1"/>
            </p:cNvSpPr>
            <p:nvPr/>
          </p:nvSpPr>
          <p:spPr bwMode="auto">
            <a:xfrm rot="-5400000">
              <a:off x="3129" y="-688"/>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 name="Line 7" hidden="1"/>
            <p:cNvSpPr>
              <a:spLocks noChangeShapeType="1"/>
            </p:cNvSpPr>
            <p:nvPr/>
          </p:nvSpPr>
          <p:spPr bwMode="auto">
            <a:xfrm rot="-5400000">
              <a:off x="3129" y="-87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 name="Line 8" hidden="1"/>
            <p:cNvSpPr>
              <a:spLocks noChangeShapeType="1"/>
            </p:cNvSpPr>
            <p:nvPr/>
          </p:nvSpPr>
          <p:spPr bwMode="auto">
            <a:xfrm rot="-5400000">
              <a:off x="3129" y="800"/>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 name="Line 9" hidden="1"/>
            <p:cNvSpPr>
              <a:spLocks noChangeShapeType="1"/>
            </p:cNvSpPr>
            <p:nvPr/>
          </p:nvSpPr>
          <p:spPr bwMode="auto">
            <a:xfrm rot="-5400000">
              <a:off x="3129" y="102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1" name="Line 10" hidden="1"/>
            <p:cNvSpPr>
              <a:spLocks noChangeShapeType="1"/>
            </p:cNvSpPr>
            <p:nvPr/>
          </p:nvSpPr>
          <p:spPr bwMode="auto">
            <a:xfrm flipV="1">
              <a:off x="1079" y="1796"/>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2" name="Line 11" hidden="1"/>
            <p:cNvSpPr>
              <a:spLocks noChangeShapeType="1"/>
            </p:cNvSpPr>
            <p:nvPr/>
          </p:nvSpPr>
          <p:spPr bwMode="auto">
            <a:xfrm flipV="1">
              <a:off x="1079" y="92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3" name="Line 12" hidden="1"/>
            <p:cNvSpPr>
              <a:spLocks noChangeShapeType="1"/>
            </p:cNvSpPr>
            <p:nvPr/>
          </p:nvSpPr>
          <p:spPr bwMode="auto">
            <a:xfrm flipV="1">
              <a:off x="1079" y="2605"/>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4" name="Line 13"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5" name="Line 14" hidden="1"/>
            <p:cNvSpPr>
              <a:spLocks noChangeShapeType="1"/>
            </p:cNvSpPr>
            <p:nvPr/>
          </p:nvSpPr>
          <p:spPr bwMode="auto">
            <a:xfrm>
              <a:off x="1079"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6" name="Line 15" hidden="1"/>
            <p:cNvSpPr>
              <a:spLocks noChangeShapeType="1"/>
            </p:cNvSpPr>
            <p:nvPr/>
          </p:nvSpPr>
          <p:spPr bwMode="auto">
            <a:xfrm>
              <a:off x="3438"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7" name="Line 16" hidden="1"/>
            <p:cNvSpPr>
              <a:spLocks noChangeShapeType="1"/>
            </p:cNvSpPr>
            <p:nvPr/>
          </p:nvSpPr>
          <p:spPr bwMode="auto">
            <a:xfrm>
              <a:off x="3751"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8" name="Line 17" hidden="1"/>
            <p:cNvSpPr>
              <a:spLocks noChangeShapeType="1"/>
            </p:cNvSpPr>
            <p:nvPr/>
          </p:nvSpPr>
          <p:spPr bwMode="auto">
            <a:xfrm>
              <a:off x="6114"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9" name="Line 18" hidden="1"/>
            <p:cNvSpPr>
              <a:spLocks noChangeShapeType="1"/>
            </p:cNvSpPr>
            <p:nvPr/>
          </p:nvSpPr>
          <p:spPr bwMode="auto">
            <a:xfrm flipV="1">
              <a:off x="2667"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0" name="Line 19" hidden="1"/>
            <p:cNvSpPr>
              <a:spLocks noChangeShapeType="1"/>
            </p:cNvSpPr>
            <p:nvPr/>
          </p:nvSpPr>
          <p:spPr bwMode="auto">
            <a:xfrm flipV="1">
              <a:off x="4511"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1" name="Line 20"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2" name="Line 21" hidden="1"/>
            <p:cNvSpPr>
              <a:spLocks noChangeShapeType="1"/>
            </p:cNvSpPr>
            <p:nvPr/>
          </p:nvSpPr>
          <p:spPr bwMode="auto">
            <a:xfrm rot="-5400000">
              <a:off x="3109" y="-2844"/>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23" name="Line 22" hidden="1"/>
            <p:cNvSpPr>
              <a:spLocks noChangeShapeType="1"/>
            </p:cNvSpPr>
            <p:nvPr/>
          </p:nvSpPr>
          <p:spPr bwMode="auto">
            <a:xfrm flipV="1">
              <a:off x="4390"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4" name="Line 23" hidden="1"/>
            <p:cNvSpPr>
              <a:spLocks noChangeShapeType="1"/>
            </p:cNvSpPr>
            <p:nvPr/>
          </p:nvSpPr>
          <p:spPr bwMode="auto">
            <a:xfrm flipV="1">
              <a:off x="2789"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5" name="Line 24" hidden="1"/>
            <p:cNvSpPr>
              <a:spLocks noChangeShapeType="1"/>
            </p:cNvSpPr>
            <p:nvPr/>
          </p:nvSpPr>
          <p:spPr bwMode="auto">
            <a:xfrm flipV="1">
              <a:off x="1079" y="2854"/>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26" name="Line 25" hidden="1"/>
            <p:cNvSpPr>
              <a:spLocks noChangeShapeType="1"/>
            </p:cNvSpPr>
            <p:nvPr/>
          </p:nvSpPr>
          <p:spPr bwMode="auto">
            <a:xfrm flipV="1">
              <a:off x="1079" y="198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sp>
        <p:nvSpPr>
          <p:cNvPr id="27" name="Text Box 34"/>
          <p:cNvSpPr txBox="1">
            <a:spLocks noChangeArrowheads="1"/>
          </p:cNvSpPr>
          <p:nvPr/>
        </p:nvSpPr>
        <p:spPr bwMode="auto">
          <a:xfrm>
            <a:off x="0" y="5946775"/>
            <a:ext cx="1581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45715" rIns="0" bIns="45715" anchor="b"/>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spcAft>
                <a:spcPct val="10000"/>
              </a:spcAft>
              <a:defRPr/>
            </a:pPr>
            <a:endParaRPr lang="en-GB" altLang="ja-JP" sz="1200" b="1" smtClean="0">
              <a:solidFill>
                <a:srgbClr val="FF0000"/>
              </a:solidFill>
              <a:ea typeface="MS PGothic" pitchFamily="34" charset="-128"/>
            </a:endParaRPr>
          </a:p>
        </p:txBody>
      </p:sp>
      <p:grpSp>
        <p:nvGrpSpPr>
          <p:cNvPr id="28" name="Group 35" hidden="1"/>
          <p:cNvGrpSpPr>
            <a:grpSpLocks/>
          </p:cNvGrpSpPr>
          <p:nvPr>
            <p:custDataLst>
              <p:tags r:id="rId2"/>
            </p:custDataLst>
          </p:nvPr>
        </p:nvGrpSpPr>
        <p:grpSpPr bwMode="auto">
          <a:xfrm>
            <a:off x="-14288" y="-31750"/>
            <a:ext cx="9172576" cy="6858000"/>
            <a:chOff x="-10" y="-20"/>
            <a:chExt cx="6260" cy="4320"/>
          </a:xfrm>
        </p:grpSpPr>
        <p:sp>
          <p:nvSpPr>
            <p:cNvPr id="29" name="Line 36" hidden="1"/>
            <p:cNvSpPr>
              <a:spLocks noChangeShapeType="1"/>
            </p:cNvSpPr>
            <p:nvPr/>
          </p:nvSpPr>
          <p:spPr bwMode="auto">
            <a:xfrm rot="-5400000">
              <a:off x="3109" y="-2372"/>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0" name="Line 37" hidden="1"/>
            <p:cNvSpPr>
              <a:spLocks noChangeShapeType="1"/>
            </p:cNvSpPr>
            <p:nvPr/>
          </p:nvSpPr>
          <p:spPr bwMode="auto">
            <a:xfrm rot="-5400000">
              <a:off x="3129" y="-688"/>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1" name="Line 38" hidden="1"/>
            <p:cNvSpPr>
              <a:spLocks noChangeShapeType="1"/>
            </p:cNvSpPr>
            <p:nvPr/>
          </p:nvSpPr>
          <p:spPr bwMode="auto">
            <a:xfrm rot="-5400000">
              <a:off x="3129" y="-87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2" name="Line 39" hidden="1"/>
            <p:cNvSpPr>
              <a:spLocks noChangeShapeType="1"/>
            </p:cNvSpPr>
            <p:nvPr/>
          </p:nvSpPr>
          <p:spPr bwMode="auto">
            <a:xfrm rot="-5400000">
              <a:off x="3129" y="800"/>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3" name="Line 40" hidden="1"/>
            <p:cNvSpPr>
              <a:spLocks noChangeShapeType="1"/>
            </p:cNvSpPr>
            <p:nvPr/>
          </p:nvSpPr>
          <p:spPr bwMode="auto">
            <a:xfrm rot="-5400000">
              <a:off x="3129" y="1027"/>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4" name="Line 41" hidden="1"/>
            <p:cNvSpPr>
              <a:spLocks noChangeShapeType="1"/>
            </p:cNvSpPr>
            <p:nvPr/>
          </p:nvSpPr>
          <p:spPr bwMode="auto">
            <a:xfrm flipV="1">
              <a:off x="1079" y="1796"/>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5" name="Line 42" hidden="1"/>
            <p:cNvSpPr>
              <a:spLocks noChangeShapeType="1"/>
            </p:cNvSpPr>
            <p:nvPr/>
          </p:nvSpPr>
          <p:spPr bwMode="auto">
            <a:xfrm flipV="1">
              <a:off x="1079" y="92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6" name="Line 43" hidden="1"/>
            <p:cNvSpPr>
              <a:spLocks noChangeShapeType="1"/>
            </p:cNvSpPr>
            <p:nvPr/>
          </p:nvSpPr>
          <p:spPr bwMode="auto">
            <a:xfrm flipV="1">
              <a:off x="1079" y="2605"/>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7" name="Line 44"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38" name="Line 45" hidden="1"/>
            <p:cNvSpPr>
              <a:spLocks noChangeShapeType="1"/>
            </p:cNvSpPr>
            <p:nvPr/>
          </p:nvSpPr>
          <p:spPr bwMode="auto">
            <a:xfrm>
              <a:off x="1079"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39" name="Line 46" hidden="1"/>
            <p:cNvSpPr>
              <a:spLocks noChangeShapeType="1"/>
            </p:cNvSpPr>
            <p:nvPr/>
          </p:nvSpPr>
          <p:spPr bwMode="auto">
            <a:xfrm>
              <a:off x="3438"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0" name="Line 47" hidden="1"/>
            <p:cNvSpPr>
              <a:spLocks noChangeShapeType="1"/>
            </p:cNvSpPr>
            <p:nvPr/>
          </p:nvSpPr>
          <p:spPr bwMode="auto">
            <a:xfrm>
              <a:off x="3751"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1" name="Line 48" hidden="1"/>
            <p:cNvSpPr>
              <a:spLocks noChangeShapeType="1"/>
            </p:cNvSpPr>
            <p:nvPr/>
          </p:nvSpPr>
          <p:spPr bwMode="auto">
            <a:xfrm>
              <a:off x="6114" y="-20"/>
              <a:ext cx="0" cy="432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2" name="Line 49" hidden="1"/>
            <p:cNvSpPr>
              <a:spLocks noChangeShapeType="1"/>
            </p:cNvSpPr>
            <p:nvPr/>
          </p:nvSpPr>
          <p:spPr bwMode="auto">
            <a:xfrm flipV="1">
              <a:off x="2667"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3" name="Line 50" hidden="1"/>
            <p:cNvSpPr>
              <a:spLocks noChangeShapeType="1"/>
            </p:cNvSpPr>
            <p:nvPr/>
          </p:nvSpPr>
          <p:spPr bwMode="auto">
            <a:xfrm flipV="1">
              <a:off x="4511"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4" name="Line 51" hidden="1"/>
            <p:cNvSpPr>
              <a:spLocks noChangeShapeType="1"/>
            </p:cNvSpPr>
            <p:nvPr/>
          </p:nvSpPr>
          <p:spPr bwMode="auto">
            <a:xfrm flipV="1">
              <a:off x="1079" y="3058"/>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5" name="Line 52" hidden="1"/>
            <p:cNvSpPr>
              <a:spLocks noChangeShapeType="1"/>
            </p:cNvSpPr>
            <p:nvPr/>
          </p:nvSpPr>
          <p:spPr bwMode="auto">
            <a:xfrm rot="-5400000">
              <a:off x="3109" y="-2844"/>
              <a:ext cx="1" cy="624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46" name="Line 53" hidden="1"/>
            <p:cNvSpPr>
              <a:spLocks noChangeShapeType="1"/>
            </p:cNvSpPr>
            <p:nvPr/>
          </p:nvSpPr>
          <p:spPr bwMode="auto">
            <a:xfrm flipV="1">
              <a:off x="4390"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7" name="Line 54" hidden="1"/>
            <p:cNvSpPr>
              <a:spLocks noChangeShapeType="1"/>
            </p:cNvSpPr>
            <p:nvPr/>
          </p:nvSpPr>
          <p:spPr bwMode="auto">
            <a:xfrm flipV="1">
              <a:off x="2789" y="754"/>
              <a:ext cx="0" cy="313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8" name="Line 55" hidden="1"/>
            <p:cNvSpPr>
              <a:spLocks noChangeShapeType="1"/>
            </p:cNvSpPr>
            <p:nvPr/>
          </p:nvSpPr>
          <p:spPr bwMode="auto">
            <a:xfrm flipV="1">
              <a:off x="1079" y="2854"/>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49" name="Line 56" hidden="1"/>
            <p:cNvSpPr>
              <a:spLocks noChangeShapeType="1"/>
            </p:cNvSpPr>
            <p:nvPr/>
          </p:nvSpPr>
          <p:spPr bwMode="auto">
            <a:xfrm flipV="1">
              <a:off x="1079" y="1989"/>
              <a:ext cx="5035" cy="0"/>
            </a:xfrm>
            <a:prstGeom prst="line">
              <a:avLst/>
            </a:prstGeom>
            <a:noFill/>
            <a:ln w="3175">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50" name="Group 118" hidden="1"/>
          <p:cNvGrpSpPr>
            <a:grpSpLocks/>
          </p:cNvGrpSpPr>
          <p:nvPr>
            <p:custDataLst>
              <p:tags r:id="rId3"/>
            </p:custDataLst>
          </p:nvPr>
        </p:nvGrpSpPr>
        <p:grpSpPr bwMode="auto">
          <a:xfrm>
            <a:off x="-14288" y="-31750"/>
            <a:ext cx="9172576" cy="6858000"/>
            <a:chOff x="-10" y="-20"/>
            <a:chExt cx="6260" cy="4320"/>
          </a:xfrm>
        </p:grpSpPr>
        <p:sp>
          <p:nvSpPr>
            <p:cNvPr id="51" name="Line 119" hidden="1"/>
            <p:cNvSpPr>
              <a:spLocks noChangeShapeType="1"/>
            </p:cNvSpPr>
            <p:nvPr/>
          </p:nvSpPr>
          <p:spPr bwMode="auto">
            <a:xfrm rot="-5400000">
              <a:off x="3109" y="-2372"/>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2" name="Line 120" hidden="1"/>
            <p:cNvSpPr>
              <a:spLocks noChangeShapeType="1"/>
            </p:cNvSpPr>
            <p:nvPr/>
          </p:nvSpPr>
          <p:spPr bwMode="auto">
            <a:xfrm rot="-5400000">
              <a:off x="3129" y="-688"/>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3" name="Line 121" hidden="1"/>
            <p:cNvSpPr>
              <a:spLocks noChangeShapeType="1"/>
            </p:cNvSpPr>
            <p:nvPr/>
          </p:nvSpPr>
          <p:spPr bwMode="auto">
            <a:xfrm rot="-5400000">
              <a:off x="3129" y="-87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4" name="Line 122" hidden="1"/>
            <p:cNvSpPr>
              <a:spLocks noChangeShapeType="1"/>
            </p:cNvSpPr>
            <p:nvPr/>
          </p:nvSpPr>
          <p:spPr bwMode="auto">
            <a:xfrm rot="-5400000">
              <a:off x="3129" y="800"/>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5" name="Line 123" hidden="1"/>
            <p:cNvSpPr>
              <a:spLocks noChangeShapeType="1"/>
            </p:cNvSpPr>
            <p:nvPr/>
          </p:nvSpPr>
          <p:spPr bwMode="auto">
            <a:xfrm rot="-5400000">
              <a:off x="3129" y="102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56" name="Line 124" hidden="1"/>
            <p:cNvSpPr>
              <a:spLocks noChangeShapeType="1"/>
            </p:cNvSpPr>
            <p:nvPr/>
          </p:nvSpPr>
          <p:spPr bwMode="auto">
            <a:xfrm flipV="1">
              <a:off x="1079" y="1796"/>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57" name="Line 125" hidden="1"/>
            <p:cNvSpPr>
              <a:spLocks noChangeShapeType="1"/>
            </p:cNvSpPr>
            <p:nvPr/>
          </p:nvSpPr>
          <p:spPr bwMode="auto">
            <a:xfrm flipV="1">
              <a:off x="1079" y="92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58" name="Line 126" hidden="1"/>
            <p:cNvSpPr>
              <a:spLocks noChangeShapeType="1"/>
            </p:cNvSpPr>
            <p:nvPr/>
          </p:nvSpPr>
          <p:spPr bwMode="auto">
            <a:xfrm flipV="1">
              <a:off x="1079" y="2605"/>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59" name="Line 127"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0" name="Line 128" hidden="1"/>
            <p:cNvSpPr>
              <a:spLocks noChangeShapeType="1"/>
            </p:cNvSpPr>
            <p:nvPr/>
          </p:nvSpPr>
          <p:spPr bwMode="auto">
            <a:xfrm>
              <a:off x="1079"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1" name="Line 129" hidden="1"/>
            <p:cNvSpPr>
              <a:spLocks noChangeShapeType="1"/>
            </p:cNvSpPr>
            <p:nvPr/>
          </p:nvSpPr>
          <p:spPr bwMode="auto">
            <a:xfrm>
              <a:off x="3438"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2" name="Line 130" hidden="1"/>
            <p:cNvSpPr>
              <a:spLocks noChangeShapeType="1"/>
            </p:cNvSpPr>
            <p:nvPr/>
          </p:nvSpPr>
          <p:spPr bwMode="auto">
            <a:xfrm>
              <a:off x="3751"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3" name="Line 131" hidden="1"/>
            <p:cNvSpPr>
              <a:spLocks noChangeShapeType="1"/>
            </p:cNvSpPr>
            <p:nvPr/>
          </p:nvSpPr>
          <p:spPr bwMode="auto">
            <a:xfrm>
              <a:off x="6114"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4" name="Line 132" hidden="1"/>
            <p:cNvSpPr>
              <a:spLocks noChangeShapeType="1"/>
            </p:cNvSpPr>
            <p:nvPr/>
          </p:nvSpPr>
          <p:spPr bwMode="auto">
            <a:xfrm flipV="1">
              <a:off x="2667"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5" name="Line 133" hidden="1"/>
            <p:cNvSpPr>
              <a:spLocks noChangeShapeType="1"/>
            </p:cNvSpPr>
            <p:nvPr/>
          </p:nvSpPr>
          <p:spPr bwMode="auto">
            <a:xfrm flipV="1">
              <a:off x="4511"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6" name="Line 134"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7" name="Line 135" hidden="1"/>
            <p:cNvSpPr>
              <a:spLocks noChangeShapeType="1"/>
            </p:cNvSpPr>
            <p:nvPr/>
          </p:nvSpPr>
          <p:spPr bwMode="auto">
            <a:xfrm rot="-5400000">
              <a:off x="3109" y="-2844"/>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68" name="Line 136" hidden="1"/>
            <p:cNvSpPr>
              <a:spLocks noChangeShapeType="1"/>
            </p:cNvSpPr>
            <p:nvPr/>
          </p:nvSpPr>
          <p:spPr bwMode="auto">
            <a:xfrm flipV="1">
              <a:off x="4390"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69" name="Line 137" hidden="1"/>
            <p:cNvSpPr>
              <a:spLocks noChangeShapeType="1"/>
            </p:cNvSpPr>
            <p:nvPr/>
          </p:nvSpPr>
          <p:spPr bwMode="auto">
            <a:xfrm flipV="1">
              <a:off x="2789"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70" name="Line 138" hidden="1"/>
            <p:cNvSpPr>
              <a:spLocks noChangeShapeType="1"/>
            </p:cNvSpPr>
            <p:nvPr/>
          </p:nvSpPr>
          <p:spPr bwMode="auto">
            <a:xfrm flipV="1">
              <a:off x="1079" y="2854"/>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71" name="Line 139" hidden="1"/>
            <p:cNvSpPr>
              <a:spLocks noChangeShapeType="1"/>
            </p:cNvSpPr>
            <p:nvPr/>
          </p:nvSpPr>
          <p:spPr bwMode="auto">
            <a:xfrm flipV="1">
              <a:off x="1079" y="198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72" name="Group 118" hidden="1"/>
          <p:cNvGrpSpPr>
            <a:grpSpLocks/>
          </p:cNvGrpSpPr>
          <p:nvPr>
            <p:custDataLst>
              <p:tags r:id="rId4"/>
            </p:custDataLst>
          </p:nvPr>
        </p:nvGrpSpPr>
        <p:grpSpPr bwMode="auto">
          <a:xfrm>
            <a:off x="125413" y="120650"/>
            <a:ext cx="9174162" cy="6858000"/>
            <a:chOff x="-10" y="-20"/>
            <a:chExt cx="6260" cy="4320"/>
          </a:xfrm>
        </p:grpSpPr>
        <p:sp>
          <p:nvSpPr>
            <p:cNvPr id="73" name="Line 119" hidden="1"/>
            <p:cNvSpPr>
              <a:spLocks noChangeShapeType="1"/>
            </p:cNvSpPr>
            <p:nvPr/>
          </p:nvSpPr>
          <p:spPr bwMode="auto">
            <a:xfrm rot="-5400000">
              <a:off x="3109" y="-2372"/>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4" name="Line 120" hidden="1"/>
            <p:cNvSpPr>
              <a:spLocks noChangeShapeType="1"/>
            </p:cNvSpPr>
            <p:nvPr/>
          </p:nvSpPr>
          <p:spPr bwMode="auto">
            <a:xfrm rot="-5400000">
              <a:off x="3129" y="-688"/>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5" name="Line 121" hidden="1"/>
            <p:cNvSpPr>
              <a:spLocks noChangeShapeType="1"/>
            </p:cNvSpPr>
            <p:nvPr/>
          </p:nvSpPr>
          <p:spPr bwMode="auto">
            <a:xfrm rot="-5400000">
              <a:off x="3129" y="-87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6" name="Line 122" hidden="1"/>
            <p:cNvSpPr>
              <a:spLocks noChangeShapeType="1"/>
            </p:cNvSpPr>
            <p:nvPr/>
          </p:nvSpPr>
          <p:spPr bwMode="auto">
            <a:xfrm rot="-5400000">
              <a:off x="3129" y="800"/>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7" name="Line 123" hidden="1"/>
            <p:cNvSpPr>
              <a:spLocks noChangeShapeType="1"/>
            </p:cNvSpPr>
            <p:nvPr/>
          </p:nvSpPr>
          <p:spPr bwMode="auto">
            <a:xfrm rot="-5400000">
              <a:off x="3129" y="102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78" name="Line 124" hidden="1"/>
            <p:cNvSpPr>
              <a:spLocks noChangeShapeType="1"/>
            </p:cNvSpPr>
            <p:nvPr/>
          </p:nvSpPr>
          <p:spPr bwMode="auto">
            <a:xfrm flipV="1">
              <a:off x="1079" y="1796"/>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79" name="Line 125" hidden="1"/>
            <p:cNvSpPr>
              <a:spLocks noChangeShapeType="1"/>
            </p:cNvSpPr>
            <p:nvPr/>
          </p:nvSpPr>
          <p:spPr bwMode="auto">
            <a:xfrm flipV="1">
              <a:off x="1079" y="92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0" name="Line 126" hidden="1"/>
            <p:cNvSpPr>
              <a:spLocks noChangeShapeType="1"/>
            </p:cNvSpPr>
            <p:nvPr/>
          </p:nvSpPr>
          <p:spPr bwMode="auto">
            <a:xfrm flipV="1">
              <a:off x="1079" y="2605"/>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1" name="Line 127"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2" name="Line 128" hidden="1"/>
            <p:cNvSpPr>
              <a:spLocks noChangeShapeType="1"/>
            </p:cNvSpPr>
            <p:nvPr/>
          </p:nvSpPr>
          <p:spPr bwMode="auto">
            <a:xfrm>
              <a:off x="1079"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3" name="Line 129" hidden="1"/>
            <p:cNvSpPr>
              <a:spLocks noChangeShapeType="1"/>
            </p:cNvSpPr>
            <p:nvPr/>
          </p:nvSpPr>
          <p:spPr bwMode="auto">
            <a:xfrm>
              <a:off x="3438"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4" name="Line 130" hidden="1"/>
            <p:cNvSpPr>
              <a:spLocks noChangeShapeType="1"/>
            </p:cNvSpPr>
            <p:nvPr/>
          </p:nvSpPr>
          <p:spPr bwMode="auto">
            <a:xfrm>
              <a:off x="3751"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5" name="Line 131" hidden="1"/>
            <p:cNvSpPr>
              <a:spLocks noChangeShapeType="1"/>
            </p:cNvSpPr>
            <p:nvPr/>
          </p:nvSpPr>
          <p:spPr bwMode="auto">
            <a:xfrm>
              <a:off x="6114"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86" name="Line 132" hidden="1"/>
            <p:cNvSpPr>
              <a:spLocks noChangeShapeType="1"/>
            </p:cNvSpPr>
            <p:nvPr/>
          </p:nvSpPr>
          <p:spPr bwMode="auto">
            <a:xfrm flipV="1">
              <a:off x="2667"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7" name="Line 133" hidden="1"/>
            <p:cNvSpPr>
              <a:spLocks noChangeShapeType="1"/>
            </p:cNvSpPr>
            <p:nvPr/>
          </p:nvSpPr>
          <p:spPr bwMode="auto">
            <a:xfrm flipV="1">
              <a:off x="4511"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8" name="Line 134"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89" name="Line 135" hidden="1"/>
            <p:cNvSpPr>
              <a:spLocks noChangeShapeType="1"/>
            </p:cNvSpPr>
            <p:nvPr/>
          </p:nvSpPr>
          <p:spPr bwMode="auto">
            <a:xfrm rot="-5400000">
              <a:off x="3109" y="-2844"/>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0" name="Line 136" hidden="1"/>
            <p:cNvSpPr>
              <a:spLocks noChangeShapeType="1"/>
            </p:cNvSpPr>
            <p:nvPr/>
          </p:nvSpPr>
          <p:spPr bwMode="auto">
            <a:xfrm flipV="1">
              <a:off x="4390"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91" name="Line 137" hidden="1"/>
            <p:cNvSpPr>
              <a:spLocks noChangeShapeType="1"/>
            </p:cNvSpPr>
            <p:nvPr/>
          </p:nvSpPr>
          <p:spPr bwMode="auto">
            <a:xfrm flipV="1">
              <a:off x="2789"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92" name="Line 138" hidden="1"/>
            <p:cNvSpPr>
              <a:spLocks noChangeShapeType="1"/>
            </p:cNvSpPr>
            <p:nvPr/>
          </p:nvSpPr>
          <p:spPr bwMode="auto">
            <a:xfrm flipV="1">
              <a:off x="1079" y="2854"/>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93" name="Line 139" hidden="1"/>
            <p:cNvSpPr>
              <a:spLocks noChangeShapeType="1"/>
            </p:cNvSpPr>
            <p:nvPr/>
          </p:nvSpPr>
          <p:spPr bwMode="auto">
            <a:xfrm flipV="1">
              <a:off x="1079" y="198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94" name="Group 118" hidden="1"/>
          <p:cNvGrpSpPr>
            <a:grpSpLocks/>
          </p:cNvGrpSpPr>
          <p:nvPr>
            <p:custDataLst>
              <p:tags r:id="rId5"/>
            </p:custDataLst>
          </p:nvPr>
        </p:nvGrpSpPr>
        <p:grpSpPr bwMode="auto">
          <a:xfrm>
            <a:off x="266700" y="273050"/>
            <a:ext cx="9172575" cy="6858000"/>
            <a:chOff x="-10" y="-20"/>
            <a:chExt cx="6260" cy="4320"/>
          </a:xfrm>
        </p:grpSpPr>
        <p:sp>
          <p:nvSpPr>
            <p:cNvPr id="95" name="Line 119" hidden="1"/>
            <p:cNvSpPr>
              <a:spLocks noChangeShapeType="1"/>
            </p:cNvSpPr>
            <p:nvPr/>
          </p:nvSpPr>
          <p:spPr bwMode="auto">
            <a:xfrm rot="-5400000">
              <a:off x="3109" y="-2372"/>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6" name="Line 120" hidden="1"/>
            <p:cNvSpPr>
              <a:spLocks noChangeShapeType="1"/>
            </p:cNvSpPr>
            <p:nvPr/>
          </p:nvSpPr>
          <p:spPr bwMode="auto">
            <a:xfrm rot="-5400000">
              <a:off x="3129" y="-688"/>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7" name="Line 121" hidden="1"/>
            <p:cNvSpPr>
              <a:spLocks noChangeShapeType="1"/>
            </p:cNvSpPr>
            <p:nvPr/>
          </p:nvSpPr>
          <p:spPr bwMode="auto">
            <a:xfrm rot="-5400000">
              <a:off x="3129" y="-87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8" name="Line 122" hidden="1"/>
            <p:cNvSpPr>
              <a:spLocks noChangeShapeType="1"/>
            </p:cNvSpPr>
            <p:nvPr/>
          </p:nvSpPr>
          <p:spPr bwMode="auto">
            <a:xfrm rot="-5400000">
              <a:off x="3129" y="800"/>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99" name="Line 123" hidden="1"/>
            <p:cNvSpPr>
              <a:spLocks noChangeShapeType="1"/>
            </p:cNvSpPr>
            <p:nvPr/>
          </p:nvSpPr>
          <p:spPr bwMode="auto">
            <a:xfrm rot="-5400000">
              <a:off x="3129" y="1027"/>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0" name="Line 124" hidden="1"/>
            <p:cNvSpPr>
              <a:spLocks noChangeShapeType="1"/>
            </p:cNvSpPr>
            <p:nvPr/>
          </p:nvSpPr>
          <p:spPr bwMode="auto">
            <a:xfrm flipV="1">
              <a:off x="1079" y="1796"/>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1" name="Line 125" hidden="1"/>
            <p:cNvSpPr>
              <a:spLocks noChangeShapeType="1"/>
            </p:cNvSpPr>
            <p:nvPr/>
          </p:nvSpPr>
          <p:spPr bwMode="auto">
            <a:xfrm flipV="1">
              <a:off x="1079" y="92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2" name="Line 126" hidden="1"/>
            <p:cNvSpPr>
              <a:spLocks noChangeShapeType="1"/>
            </p:cNvSpPr>
            <p:nvPr/>
          </p:nvSpPr>
          <p:spPr bwMode="auto">
            <a:xfrm flipV="1">
              <a:off x="1079" y="2605"/>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3" name="Line 127"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4" name="Line 128" hidden="1"/>
            <p:cNvSpPr>
              <a:spLocks noChangeShapeType="1"/>
            </p:cNvSpPr>
            <p:nvPr/>
          </p:nvSpPr>
          <p:spPr bwMode="auto">
            <a:xfrm>
              <a:off x="1079"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5" name="Line 129" hidden="1"/>
            <p:cNvSpPr>
              <a:spLocks noChangeShapeType="1"/>
            </p:cNvSpPr>
            <p:nvPr/>
          </p:nvSpPr>
          <p:spPr bwMode="auto">
            <a:xfrm>
              <a:off x="3438"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6" name="Line 130" hidden="1"/>
            <p:cNvSpPr>
              <a:spLocks noChangeShapeType="1"/>
            </p:cNvSpPr>
            <p:nvPr/>
          </p:nvSpPr>
          <p:spPr bwMode="auto">
            <a:xfrm>
              <a:off x="3751"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7" name="Line 131" hidden="1"/>
            <p:cNvSpPr>
              <a:spLocks noChangeShapeType="1"/>
            </p:cNvSpPr>
            <p:nvPr/>
          </p:nvSpPr>
          <p:spPr bwMode="auto">
            <a:xfrm>
              <a:off x="6114" y="-20"/>
              <a:ext cx="0" cy="432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08" name="Line 132" hidden="1"/>
            <p:cNvSpPr>
              <a:spLocks noChangeShapeType="1"/>
            </p:cNvSpPr>
            <p:nvPr/>
          </p:nvSpPr>
          <p:spPr bwMode="auto">
            <a:xfrm flipV="1">
              <a:off x="2667"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09" name="Line 133" hidden="1"/>
            <p:cNvSpPr>
              <a:spLocks noChangeShapeType="1"/>
            </p:cNvSpPr>
            <p:nvPr/>
          </p:nvSpPr>
          <p:spPr bwMode="auto">
            <a:xfrm flipV="1">
              <a:off x="4511"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0" name="Line 134" hidden="1"/>
            <p:cNvSpPr>
              <a:spLocks noChangeShapeType="1"/>
            </p:cNvSpPr>
            <p:nvPr/>
          </p:nvSpPr>
          <p:spPr bwMode="auto">
            <a:xfrm flipV="1">
              <a:off x="1079" y="3058"/>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1" name="Line 135" hidden="1"/>
            <p:cNvSpPr>
              <a:spLocks noChangeShapeType="1"/>
            </p:cNvSpPr>
            <p:nvPr/>
          </p:nvSpPr>
          <p:spPr bwMode="auto">
            <a:xfrm rot="-5400000">
              <a:off x="3109" y="-2844"/>
              <a:ext cx="1" cy="624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fr-FR"/>
            </a:p>
          </p:txBody>
        </p:sp>
        <p:sp>
          <p:nvSpPr>
            <p:cNvPr id="112" name="Line 136" hidden="1"/>
            <p:cNvSpPr>
              <a:spLocks noChangeShapeType="1"/>
            </p:cNvSpPr>
            <p:nvPr/>
          </p:nvSpPr>
          <p:spPr bwMode="auto">
            <a:xfrm flipV="1">
              <a:off x="4390"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3" name="Line 137" hidden="1"/>
            <p:cNvSpPr>
              <a:spLocks noChangeShapeType="1"/>
            </p:cNvSpPr>
            <p:nvPr/>
          </p:nvSpPr>
          <p:spPr bwMode="auto">
            <a:xfrm flipV="1">
              <a:off x="2789" y="754"/>
              <a:ext cx="0" cy="313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4" name="Line 138" hidden="1"/>
            <p:cNvSpPr>
              <a:spLocks noChangeShapeType="1"/>
            </p:cNvSpPr>
            <p:nvPr/>
          </p:nvSpPr>
          <p:spPr bwMode="auto">
            <a:xfrm flipV="1">
              <a:off x="1079" y="2854"/>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sp>
          <p:nvSpPr>
            <p:cNvPr id="115" name="Line 139" hidden="1"/>
            <p:cNvSpPr>
              <a:spLocks noChangeShapeType="1"/>
            </p:cNvSpPr>
            <p:nvPr/>
          </p:nvSpPr>
          <p:spPr bwMode="auto">
            <a:xfrm flipV="1">
              <a:off x="1079" y="1989"/>
              <a:ext cx="5035" cy="0"/>
            </a:xfrm>
            <a:prstGeom prst="line">
              <a:avLst/>
            </a:prstGeom>
            <a:noFill/>
            <a:ln w="3175">
              <a:solidFill>
                <a:srgbClr val="7030A0"/>
              </a:solidFill>
              <a:prstDash val="sysDot"/>
              <a:round/>
              <a:headEnd/>
              <a:tailEnd/>
            </a:ln>
            <a:extLst>
              <a:ext uri="{909E8E84-426E-40DD-AFC4-6F175D3DCCD1}">
                <a14:hiddenFill xmlns:a14="http://schemas.microsoft.com/office/drawing/2010/main">
                  <a:noFill/>
                </a14:hiddenFill>
              </a:ext>
            </a:extLst>
          </p:spPr>
          <p:txBody>
            <a:bodyPr/>
            <a:lstStyle/>
            <a:p>
              <a:endParaRPr lang="fr-FR"/>
            </a:p>
          </p:txBody>
        </p:sp>
      </p:grpSp>
      <p:sp>
        <p:nvSpPr>
          <p:cNvPr id="116" name="ZoneTexte 115"/>
          <p:cNvSpPr txBox="1">
            <a:spLocks noChangeArrowheads="1"/>
          </p:cNvSpPr>
          <p:nvPr/>
        </p:nvSpPr>
        <p:spPr bwMode="auto">
          <a:xfrm>
            <a:off x="7881938" y="26988"/>
            <a:ext cx="12636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lgn="ctr" eaLnBrk="1" hangingPunct="1">
              <a:defRPr/>
            </a:pPr>
            <a:r>
              <a:rPr lang="fr-FR" sz="1400" b="1" smtClean="0">
                <a:solidFill>
                  <a:srgbClr val="FF0000"/>
                </a:solidFill>
              </a:rPr>
              <a:t>DRAFT</a:t>
            </a:r>
          </a:p>
        </p:txBody>
      </p:sp>
      <p:sp>
        <p:nvSpPr>
          <p:cNvPr id="117" name="Rectangle 116"/>
          <p:cNvSpPr/>
          <p:nvPr/>
        </p:nvSpPr>
        <p:spPr>
          <a:xfrm>
            <a:off x="0" y="0"/>
            <a:ext cx="9144000" cy="255588"/>
          </a:xfrm>
          <a:prstGeom prst="rect">
            <a:avLst/>
          </a:prstGeom>
          <a:solidFill>
            <a:srgbClr val="007CB1"/>
          </a:solidFill>
          <a:ln>
            <a:noFill/>
          </a:ln>
          <a:effectLst/>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endParaRPr lang="fr-FR">
              <a:solidFill>
                <a:srgbClr val="FFFFFF"/>
              </a:solidFill>
            </a:endParaRPr>
          </a:p>
        </p:txBody>
      </p:sp>
      <p:sp>
        <p:nvSpPr>
          <p:cNvPr id="118" name="Rectangle 117"/>
          <p:cNvSpPr/>
          <p:nvPr/>
        </p:nvSpPr>
        <p:spPr>
          <a:xfrm>
            <a:off x="-1588" y="6586538"/>
            <a:ext cx="9144001" cy="271462"/>
          </a:xfrm>
          <a:prstGeom prst="rect">
            <a:avLst/>
          </a:prstGeom>
          <a:solidFill>
            <a:srgbClr val="007C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rtl="1" eaLnBrk="1" hangingPunct="1">
              <a:defRPr/>
            </a:pPr>
            <a:r>
              <a:rPr lang="ar-TN" altLang="fr-FR" sz="1400" b="1" smtClean="0">
                <a:solidFill>
                  <a:srgbClr val="FFFFFF"/>
                </a:solidFill>
                <a:latin typeface="Simplified Arabic" panose="02020603050405020304" pitchFamily="18" charset="-78"/>
                <a:cs typeface="Simplified Arabic" panose="02020603050405020304" pitchFamily="18" charset="-78"/>
              </a:rPr>
              <a:t>وزارة التنمية والتعاون الدولي – اللجنة التنفيذية لمراجعة مجلة تشجيع الاستثمارات                                                             </a:t>
            </a:r>
            <a:r>
              <a:rPr lang="fr-FR" altLang="fr-FR" sz="1200" b="1" smtClean="0">
                <a:solidFill>
                  <a:srgbClr val="FFFFFF"/>
                </a:solidFill>
                <a:latin typeface="Arial (corps)"/>
                <a:cs typeface="Simplified Arabic" panose="02020603050405020304" pitchFamily="18" charset="-78"/>
              </a:rPr>
              <a:t>25     </a:t>
            </a:r>
            <a:r>
              <a:rPr lang="ar-TN" altLang="fr-FR" sz="1400" b="1" smtClean="0">
                <a:solidFill>
                  <a:srgbClr val="FFFFFF"/>
                </a:solidFill>
                <a:latin typeface="Arial (corps)"/>
                <a:cs typeface="Simplified Arabic" panose="02020603050405020304" pitchFamily="18" charset="-78"/>
              </a:rPr>
              <a:t> أفريل </a:t>
            </a:r>
            <a:r>
              <a:rPr lang="ar-TN" altLang="fr-FR" sz="1200" b="1" smtClean="0">
                <a:solidFill>
                  <a:srgbClr val="FFFFFF"/>
                </a:solidFill>
                <a:latin typeface="Arial (corps)"/>
                <a:cs typeface="Simplified Arabic" panose="02020603050405020304" pitchFamily="18" charset="-78"/>
              </a:rPr>
              <a:t>2013 </a:t>
            </a:r>
            <a:r>
              <a:rPr lang="ar-TN" altLang="fr-FR" sz="1400" b="1" smtClean="0">
                <a:solidFill>
                  <a:srgbClr val="FFFFFF"/>
                </a:solidFill>
                <a:latin typeface="Arial (corps)"/>
                <a:cs typeface="Simplified Arabic" panose="02020603050405020304" pitchFamily="18" charset="-78"/>
              </a:rPr>
              <a:t>- </a:t>
            </a:r>
            <a:fld id="{86A3FCE7-39F1-451F-8D34-9D1D6266360B}" type="slidenum">
              <a:rPr lang="ar-TN" altLang="fr-FR" sz="1200" b="1" smtClean="0">
                <a:solidFill>
                  <a:srgbClr val="FFFFFF"/>
                </a:solidFill>
                <a:latin typeface="Arial (corps)"/>
                <a:cs typeface="Simplified Arabic" panose="02020603050405020304" pitchFamily="18" charset="-78"/>
              </a:rPr>
              <a:pPr algn="r" rtl="1" eaLnBrk="1" hangingPunct="1">
                <a:defRPr/>
              </a:pPr>
              <a:t>‹N°›</a:t>
            </a:fld>
            <a:r>
              <a:rPr lang="ar-TN" altLang="fr-FR" sz="1400" b="1" smtClean="0">
                <a:solidFill>
                  <a:srgbClr val="FFFFFF"/>
                </a:solidFill>
                <a:latin typeface="Arial (corps)"/>
                <a:cs typeface="Simplified Arabic" panose="02020603050405020304" pitchFamily="18" charset="-78"/>
              </a:rPr>
              <a:t> </a:t>
            </a:r>
            <a:endParaRPr lang="fr-FR" altLang="fr-FR" sz="1400" b="1" smtClean="0">
              <a:solidFill>
                <a:srgbClr val="FFFFFF"/>
              </a:solidFill>
              <a:latin typeface="Simplified Arabic" panose="02020603050405020304" pitchFamily="18" charset="-78"/>
              <a:cs typeface="Simplified Arabic" panose="02020603050405020304" pitchFamily="18" charset="-78"/>
            </a:endParaRPr>
          </a:p>
        </p:txBody>
      </p:sp>
      <p:sp>
        <p:nvSpPr>
          <p:cNvPr id="2" name="Titre 1"/>
          <p:cNvSpPr>
            <a:spLocks noGrp="1"/>
          </p:cNvSpPr>
          <p:nvPr>
            <p:ph type="title"/>
          </p:nvPr>
        </p:nvSpPr>
        <p:spPr>
          <a:xfrm>
            <a:off x="659423" y="279400"/>
            <a:ext cx="8299938" cy="431800"/>
          </a:xfrm>
        </p:spPr>
        <p:txBody>
          <a:bodyPr/>
          <a:lstStyle/>
          <a:p>
            <a:r>
              <a:rPr lang="fr-FR" smtClean="0"/>
              <a:t>Cliquez pour modifier le style du titre</a:t>
            </a:r>
            <a:endParaRPr lang="en-GB" dirty="0"/>
          </a:p>
        </p:txBody>
      </p:sp>
      <p:sp>
        <p:nvSpPr>
          <p:cNvPr id="3" name="Espace réservé du contenu 2"/>
          <p:cNvSpPr>
            <a:spLocks noGrp="1"/>
          </p:cNvSpPr>
          <p:nvPr>
            <p:ph idx="1"/>
          </p:nvPr>
        </p:nvSpPr>
        <p:spPr>
          <a:xfrm>
            <a:off x="1581151" y="1196975"/>
            <a:ext cx="7378211" cy="5040313"/>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Tree>
    <p:extLst>
      <p:ext uri="{BB962C8B-B14F-4D97-AF65-F5344CB8AC3E}">
        <p14:creationId xmlns:p14="http://schemas.microsoft.com/office/powerpoint/2010/main" val="13825141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re seul">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64"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720E6677-A1A2-48A0-A977-165625FC4B21}"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8AF1FA9B-958E-4420-A78D-C1F80BBFC16F}" type="slidenum">
              <a:rPr lang="fr-FR" altLang="fr-FR"/>
              <a:pPr>
                <a:defRPr/>
              </a:pPr>
              <a:t>‹N°›</a:t>
            </a:fld>
            <a:endParaRPr lang="fr-FR" altLang="fr-FR"/>
          </a:p>
        </p:txBody>
      </p:sp>
    </p:spTree>
    <p:extLst>
      <p:ext uri="{BB962C8B-B14F-4D97-AF65-F5344CB8AC3E}">
        <p14:creationId xmlns:p14="http://schemas.microsoft.com/office/powerpoint/2010/main" val="2126456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98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2D747BA4-6891-4AAC-BBD4-C16F8B390133}"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24BFAD62-EBE6-4B21-8611-552F00B7005A}" type="slidenum">
              <a:rPr lang="fr-FR" altLang="fr-FR"/>
              <a:pPr>
                <a:defRPr/>
              </a:pPr>
              <a:t>‹N°›</a:t>
            </a:fld>
            <a:endParaRPr lang="fr-FR" altLang="fr-FR"/>
          </a:p>
        </p:txBody>
      </p:sp>
    </p:spTree>
    <p:extLst>
      <p:ext uri="{BB962C8B-B14F-4D97-AF65-F5344CB8AC3E}">
        <p14:creationId xmlns:p14="http://schemas.microsoft.com/office/powerpoint/2010/main" val="42014230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cSld name="27_Title and Content">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12"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Connecteur droit 9"/>
          <p:cNvCxnSpPr/>
          <p:nvPr/>
        </p:nvCxnSpPr>
        <p:spPr>
          <a:xfrm>
            <a:off x="130175" y="895350"/>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6" name="ZoneTexte 5"/>
          <p:cNvSpPr txBox="1">
            <a:spLocks noChangeArrowheads="1"/>
          </p:cNvSpPr>
          <p:nvPr/>
        </p:nvSpPr>
        <p:spPr bwMode="auto">
          <a:xfrm>
            <a:off x="6215063" y="6400800"/>
            <a:ext cx="2520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lgn="r" eaLnBrk="1" hangingPunct="1">
              <a:defRPr/>
            </a:pPr>
            <a:r>
              <a:rPr lang="ar-TN" sz="1000" b="1" smtClean="0">
                <a:solidFill>
                  <a:srgbClr val="898989"/>
                </a:solidFill>
              </a:rPr>
              <a:t>الجمهورية التونسية</a:t>
            </a:r>
            <a:br>
              <a:rPr lang="ar-TN" sz="1000" b="1" smtClean="0">
                <a:solidFill>
                  <a:srgbClr val="898989"/>
                </a:solidFill>
              </a:rPr>
            </a:br>
            <a:r>
              <a:rPr lang="ar-TN" sz="1000" b="1" smtClean="0">
                <a:solidFill>
                  <a:srgbClr val="898989"/>
                </a:solidFill>
              </a:rPr>
              <a:t>وزارة التنمية والاستثمار والتعاون الدولي</a:t>
            </a:r>
            <a:endParaRPr lang="fr-BE" sz="1000" smtClean="0">
              <a:solidFill>
                <a:srgbClr val="898989"/>
              </a:solidFill>
            </a:endParaRPr>
          </a:p>
        </p:txBody>
      </p:sp>
      <p:pic>
        <p:nvPicPr>
          <p:cNvPr id="7"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729663" y="6357938"/>
            <a:ext cx="365125" cy="48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Espace réservé du numéro de diapositive 5"/>
          <p:cNvSpPr txBox="1">
            <a:spLocks/>
          </p:cNvSpPr>
          <p:nvPr/>
        </p:nvSpPr>
        <p:spPr>
          <a:xfrm>
            <a:off x="428625" y="6418263"/>
            <a:ext cx="625475"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79BEDDAB-B98C-45D2-AC04-4182DB90AD75}" type="slidenum">
              <a:rPr lang="fr-BE" altLang="fr-FR" sz="1000" smtClean="0">
                <a:solidFill>
                  <a:srgbClr val="E51B2E"/>
                </a:solidFill>
              </a:rPr>
              <a:pPr algn="ctr" eaLnBrk="1" hangingPunct="1">
                <a:defRPr/>
              </a:pPr>
              <a:t>‹N°›</a:t>
            </a:fld>
            <a:endParaRPr lang="fr-BE" altLang="fr-FR" sz="1000" smtClean="0">
              <a:solidFill>
                <a:srgbClr val="E51B2E"/>
              </a:solidFill>
            </a:endParaRPr>
          </a:p>
        </p:txBody>
      </p:sp>
      <p:cxnSp>
        <p:nvCxnSpPr>
          <p:cNvPr id="9" name="Connecteur droit 8"/>
          <p:cNvCxnSpPr/>
          <p:nvPr/>
        </p:nvCxnSpPr>
        <p:spPr>
          <a:xfrm>
            <a:off x="0" y="6357938"/>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0" y="635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FFFFF"/>
              </a:solidFill>
            </a:endParaRPr>
          </a:p>
        </p:txBody>
      </p:sp>
      <p:sp>
        <p:nvSpPr>
          <p:cNvPr id="18" name="Text Placeholder 28"/>
          <p:cNvSpPr>
            <a:spLocks noGrp="1"/>
          </p:cNvSpPr>
          <p:nvPr>
            <p:ph type="body" sz="quarter" idx="23"/>
          </p:nvPr>
        </p:nvSpPr>
        <p:spPr>
          <a:xfrm>
            <a:off x="164012" y="176177"/>
            <a:ext cx="8791302" cy="710519"/>
          </a:xfrm>
        </p:spPr>
        <p:txBody>
          <a:bodyPr anchor="ctr">
            <a:normAutofit/>
          </a:bodyPr>
          <a:lstStyle>
            <a:lvl1pPr marL="0" indent="0" algn="r" rtl="1">
              <a:buNone/>
              <a:defRPr lang="en-US" sz="1800" b="1" kern="1200" dirty="0" smtClean="0">
                <a:solidFill>
                  <a:srgbClr val="FF0000"/>
                </a:solidFill>
                <a:latin typeface="Arial" pitchFamily="34" charset="0"/>
                <a:ea typeface="+mj-ea"/>
                <a:cs typeface="Arial" pitchFamily="34" charset="0"/>
              </a:defRPr>
            </a:lvl1pPr>
            <a:lvl2pPr>
              <a:buNone/>
              <a:defRPr/>
            </a:lvl2pPr>
          </a:lstStyle>
          <a:p>
            <a:pPr lvl="0"/>
            <a:r>
              <a:rPr lang="fr-FR" smtClean="0"/>
              <a:t>Cliquez pour modifier les styles du texte du masque</a:t>
            </a:r>
          </a:p>
        </p:txBody>
      </p:sp>
      <p:sp>
        <p:nvSpPr>
          <p:cNvPr id="12" name="Text Placeholder 28"/>
          <p:cNvSpPr>
            <a:spLocks noGrp="1"/>
          </p:cNvSpPr>
          <p:nvPr>
            <p:ph type="body" sz="quarter" idx="24"/>
          </p:nvPr>
        </p:nvSpPr>
        <p:spPr>
          <a:xfrm>
            <a:off x="164011" y="892507"/>
            <a:ext cx="8742921" cy="710519"/>
          </a:xfrm>
        </p:spPr>
        <p:txBody>
          <a:bodyPr anchor="ctr">
            <a:normAutofit/>
          </a:bodyPr>
          <a:lstStyle>
            <a:lvl1pPr marL="0" indent="0" algn="r" rtl="1">
              <a:buNone/>
              <a:defRPr sz="1600" b="1">
                <a:latin typeface="Arial" pitchFamily="34" charset="0"/>
                <a:cs typeface="Arial" pitchFamily="34" charset="0"/>
              </a:defRPr>
            </a:lvl1pPr>
            <a:lvl2pPr>
              <a:buNone/>
              <a:defRPr/>
            </a:lvl2pPr>
          </a:lstStyle>
          <a:p>
            <a:pPr lvl="0"/>
            <a:r>
              <a:rPr lang="fr-FR" smtClean="0"/>
              <a:t>Cliquez pour modifier les styles du texte du masque</a:t>
            </a:r>
          </a:p>
        </p:txBody>
      </p:sp>
      <p:sp>
        <p:nvSpPr>
          <p:cNvPr id="11" name="Espace réservé du pied de page 4"/>
          <p:cNvSpPr>
            <a:spLocks noGrp="1"/>
          </p:cNvSpPr>
          <p:nvPr>
            <p:ph type="ftr" sz="quarter" idx="25"/>
          </p:nvPr>
        </p:nvSpPr>
        <p:spPr>
          <a:xfrm>
            <a:off x="3124200" y="6418263"/>
            <a:ext cx="2895600" cy="365125"/>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sz="1000">
                <a:solidFill>
                  <a:srgbClr val="FF7575"/>
                </a:solidFill>
              </a:defRPr>
            </a:lvl1pPr>
          </a:lstStyle>
          <a:p>
            <a:pPr>
              <a:defRPr/>
            </a:pPr>
            <a:endParaRPr lang="fr-FR"/>
          </a:p>
        </p:txBody>
      </p:sp>
    </p:spTree>
    <p:extLst>
      <p:ext uri="{BB962C8B-B14F-4D97-AF65-F5344CB8AC3E}">
        <p14:creationId xmlns:p14="http://schemas.microsoft.com/office/powerpoint/2010/main" val="18777304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2_Diapositive de titr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036"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027988" y="11113"/>
            <a:ext cx="973137" cy="144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0" y="171450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solidFill>
                <a:srgbClr val="FFFFFF"/>
              </a:solidFill>
            </a:endParaRPr>
          </a:p>
        </p:txBody>
      </p:sp>
      <p:sp>
        <p:nvSpPr>
          <p:cNvPr id="7" name="Rectangle 9"/>
          <p:cNvSpPr>
            <a:spLocks noChangeArrowheads="1"/>
          </p:cNvSpPr>
          <p:nvPr/>
        </p:nvSpPr>
        <p:spPr bwMode="auto">
          <a:xfrm>
            <a:off x="3500438" y="428625"/>
            <a:ext cx="4572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ar-TN" altLang="fr-FR" b="1" smtClean="0">
                <a:solidFill>
                  <a:srgbClr val="000000"/>
                </a:solidFill>
              </a:rPr>
              <a:t>الجمهورية التونسية</a:t>
            </a:r>
            <a:br>
              <a:rPr lang="ar-TN" altLang="fr-FR" b="1" smtClean="0">
                <a:solidFill>
                  <a:srgbClr val="000000"/>
                </a:solidFill>
              </a:rPr>
            </a:br>
            <a:r>
              <a:rPr lang="ar-TN" altLang="fr-FR" b="1" smtClean="0">
                <a:solidFill>
                  <a:srgbClr val="000000"/>
                </a:solidFill>
              </a:rPr>
              <a:t>وزارة التنمية والاستثمار والتعاون الدولي</a:t>
            </a:r>
            <a:endParaRPr lang="fr-FR" altLang="fr-FR" b="1" smtClean="0">
              <a:solidFill>
                <a:srgbClr val="000000"/>
              </a:solidFill>
            </a:endParaRPr>
          </a:p>
        </p:txBody>
      </p:sp>
      <p:sp>
        <p:nvSpPr>
          <p:cNvPr id="3" name="Sous-titre 2"/>
          <p:cNvSpPr>
            <a:spLocks noGrp="1"/>
          </p:cNvSpPr>
          <p:nvPr>
            <p:ph type="subTitle" idx="1"/>
          </p:nvPr>
        </p:nvSpPr>
        <p:spPr>
          <a:xfrm>
            <a:off x="1371600" y="2747970"/>
            <a:ext cx="6400800" cy="1752600"/>
          </a:xfrm>
        </p:spPr>
        <p:txBody>
          <a:bodyPr rtlCol="0">
            <a:normAutofit/>
          </a:bodyPr>
          <a:lstStyle>
            <a:lvl1pPr marL="0" indent="0" algn="ctr" defTabSz="914400" rtl="1" eaLnBrk="1" latinLnBrk="0" hangingPunct="1">
              <a:spcBef>
                <a:spcPct val="20000"/>
              </a:spcBef>
              <a:buFont typeface="Arial" pitchFamily="34" charset="0"/>
              <a:buNone/>
              <a:defRPr lang="fr-BE" sz="3200" b="1" kern="1200" dirty="0">
                <a:solidFill>
                  <a:srgbClr val="FF0000"/>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BE" dirty="0"/>
          </a:p>
        </p:txBody>
      </p:sp>
      <p:sp>
        <p:nvSpPr>
          <p:cNvPr id="8" name="Espace réservé de la date 3"/>
          <p:cNvSpPr>
            <a:spLocks noGrp="1"/>
          </p:cNvSpPr>
          <p:nvPr>
            <p:ph type="dt" sz="half" idx="10"/>
          </p:nvPr>
        </p:nvSpPr>
        <p:spPr>
          <a:xfrm>
            <a:off x="3503613" y="5483225"/>
            <a:ext cx="2133600" cy="400050"/>
          </a:xfrm>
        </p:spPr>
        <p:txBody>
          <a:bodyPr wrap="square">
            <a:spAutoFit/>
          </a:bodyPr>
          <a:lstStyle>
            <a:lvl1pPr marL="0" algn="ctr" defTabSz="914400" rtl="1" eaLnBrk="1" latinLnBrk="0" hangingPunct="1">
              <a:defRPr lang="fr-BE" sz="2000" b="1" kern="1200">
                <a:solidFill>
                  <a:srgbClr val="000000"/>
                </a:solidFill>
                <a:latin typeface="Arial" pitchFamily="34" charset="0"/>
                <a:ea typeface="+mn-ea"/>
                <a:cs typeface="Arial" pitchFamily="34" charset="0"/>
              </a:defRPr>
            </a:lvl1pPr>
          </a:lstStyle>
          <a:p>
            <a:pPr>
              <a:defRPr/>
            </a:pPr>
            <a:fld id="{2D86CFBD-5065-4E10-8A75-86439C42121F}" type="datetimeFigureOut">
              <a:rPr lang="fr-FR"/>
              <a:pPr>
                <a:defRPr/>
              </a:pPr>
              <a:t>27/09/2018</a:t>
            </a:fld>
            <a:endParaRPr lang="fr-FR"/>
          </a:p>
        </p:txBody>
      </p:sp>
    </p:spTree>
    <p:extLst>
      <p:ext uri="{BB962C8B-B14F-4D97-AF65-F5344CB8AC3E}">
        <p14:creationId xmlns:p14="http://schemas.microsoft.com/office/powerpoint/2010/main" val="32860779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cSld name="3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590687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cSld name="26_Title and Conten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06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Connecteur droit 9"/>
          <p:cNvCxnSpPr/>
          <p:nvPr/>
        </p:nvCxnSpPr>
        <p:spPr>
          <a:xfrm>
            <a:off x="130175" y="895350"/>
            <a:ext cx="8763000" cy="0"/>
          </a:xfrm>
          <a:prstGeom prst="line">
            <a:avLst/>
          </a:prstGeom>
          <a:ln w="19050">
            <a:solidFill>
              <a:srgbClr val="E51B2E"/>
            </a:solidFill>
          </a:ln>
        </p:spPr>
        <p:style>
          <a:lnRef idx="1">
            <a:schemeClr val="accent1"/>
          </a:lnRef>
          <a:fillRef idx="0">
            <a:schemeClr val="accent1"/>
          </a:fillRef>
          <a:effectRef idx="0">
            <a:schemeClr val="accent1"/>
          </a:effectRef>
          <a:fontRef idx="minor">
            <a:schemeClr val="tx1"/>
          </a:fontRef>
        </p:style>
      </p:cxnSp>
      <p:sp>
        <p:nvSpPr>
          <p:cNvPr id="5" name="ZoneTexte 4"/>
          <p:cNvSpPr txBox="1">
            <a:spLocks noChangeArrowheads="1"/>
          </p:cNvSpPr>
          <p:nvPr/>
        </p:nvSpPr>
        <p:spPr bwMode="auto">
          <a:xfrm>
            <a:off x="6215063" y="6400800"/>
            <a:ext cx="2520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lgn="r" eaLnBrk="1" hangingPunct="1">
              <a:defRPr/>
            </a:pPr>
            <a:r>
              <a:rPr lang="ar-TN" sz="1000" b="1" smtClean="0">
                <a:solidFill>
                  <a:srgbClr val="898989"/>
                </a:solidFill>
              </a:rPr>
              <a:t>الجمهورية التونسية</a:t>
            </a:r>
            <a:br>
              <a:rPr lang="ar-TN" sz="1000" b="1" smtClean="0">
                <a:solidFill>
                  <a:srgbClr val="898989"/>
                </a:solidFill>
              </a:rPr>
            </a:br>
            <a:r>
              <a:rPr lang="ar-TN" sz="1000" b="1" smtClean="0">
                <a:solidFill>
                  <a:srgbClr val="898989"/>
                </a:solidFill>
              </a:rPr>
              <a:t>وزارة التنمية والاستثمار والتعاون الدولي</a:t>
            </a:r>
            <a:endParaRPr lang="fr-BE" sz="1000" smtClean="0">
              <a:solidFill>
                <a:srgbClr val="898989"/>
              </a:solidFill>
            </a:endParaRPr>
          </a:p>
        </p:txBody>
      </p:sp>
      <p:pic>
        <p:nvPicPr>
          <p:cNvPr id="6"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729663" y="6357938"/>
            <a:ext cx="365125" cy="48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Espace réservé du numéro de diapositive 5"/>
          <p:cNvSpPr txBox="1">
            <a:spLocks/>
          </p:cNvSpPr>
          <p:nvPr/>
        </p:nvSpPr>
        <p:spPr>
          <a:xfrm>
            <a:off x="428625" y="6418263"/>
            <a:ext cx="625475"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FD9404B8-B3B1-44C7-BEA0-02B15F2E723B}" type="slidenum">
              <a:rPr lang="fr-BE" altLang="fr-FR" sz="1000" smtClean="0">
                <a:solidFill>
                  <a:srgbClr val="E51B2E"/>
                </a:solidFill>
              </a:rPr>
              <a:pPr algn="ctr" eaLnBrk="1" hangingPunct="1">
                <a:defRPr/>
              </a:pPr>
              <a:t>‹N°›</a:t>
            </a:fld>
            <a:endParaRPr lang="fr-BE" altLang="fr-FR" sz="1000" smtClean="0">
              <a:solidFill>
                <a:srgbClr val="E51B2E"/>
              </a:solidFill>
            </a:endParaRPr>
          </a:p>
        </p:txBody>
      </p:sp>
      <p:cxnSp>
        <p:nvCxnSpPr>
          <p:cNvPr id="8" name="Connecteur droit 8"/>
          <p:cNvCxnSpPr/>
          <p:nvPr/>
        </p:nvCxnSpPr>
        <p:spPr>
          <a:xfrm>
            <a:off x="0" y="6357938"/>
            <a:ext cx="9144000"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0" y="635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FFFFF"/>
              </a:solidFill>
            </a:endParaRPr>
          </a:p>
        </p:txBody>
      </p:sp>
      <p:sp>
        <p:nvSpPr>
          <p:cNvPr id="18" name="Text Placeholder 28"/>
          <p:cNvSpPr>
            <a:spLocks noGrp="1"/>
          </p:cNvSpPr>
          <p:nvPr>
            <p:ph type="body" sz="quarter" idx="23"/>
          </p:nvPr>
        </p:nvSpPr>
        <p:spPr>
          <a:xfrm>
            <a:off x="164012" y="176177"/>
            <a:ext cx="8791302" cy="710519"/>
          </a:xfrm>
        </p:spPr>
        <p:txBody>
          <a:bodyPr anchor="ctr">
            <a:normAutofit/>
          </a:bodyPr>
          <a:lstStyle>
            <a:lvl1pPr marL="0" indent="0" algn="r" rtl="1">
              <a:buNone/>
              <a:defRPr lang="en-US" sz="1800" b="0" kern="1200" dirty="0" smtClean="0">
                <a:solidFill>
                  <a:srgbClr val="FF0000"/>
                </a:solidFill>
                <a:latin typeface="Arial" pitchFamily="34" charset="0"/>
                <a:ea typeface="+mj-ea"/>
                <a:cs typeface="Arial" pitchFamily="34" charset="0"/>
              </a:defRPr>
            </a:lvl1pPr>
            <a:lvl2pPr>
              <a:buNone/>
              <a:defRPr/>
            </a:lvl2pPr>
          </a:lstStyle>
          <a:p>
            <a:pPr lvl="0"/>
            <a:r>
              <a:rPr lang="fr-FR" smtClean="0"/>
              <a:t>Cliquez pour modifier les styles du texte du masque</a:t>
            </a:r>
          </a:p>
        </p:txBody>
      </p:sp>
      <p:sp>
        <p:nvSpPr>
          <p:cNvPr id="10" name="Espace réservé du pied de page 4"/>
          <p:cNvSpPr>
            <a:spLocks noGrp="1"/>
          </p:cNvSpPr>
          <p:nvPr>
            <p:ph type="ftr" sz="quarter" idx="24"/>
          </p:nvPr>
        </p:nvSpPr>
        <p:spPr>
          <a:xfrm>
            <a:off x="3124200" y="6418263"/>
            <a:ext cx="2895600" cy="365125"/>
          </a:xfrm>
        </p:spPr>
        <p:txBody>
          <a:bodyPr/>
          <a:lstStyle>
            <a:lvl1pPr marL="0" marR="0" indent="0" algn="ctr" defTabSz="914400" rtl="0" eaLnBrk="1" fontAlgn="auto" latinLnBrk="0" hangingPunct="1">
              <a:lnSpc>
                <a:spcPct val="100000"/>
              </a:lnSpc>
              <a:spcBef>
                <a:spcPts val="0"/>
              </a:spcBef>
              <a:spcAft>
                <a:spcPts val="0"/>
              </a:spcAft>
              <a:buClrTx/>
              <a:buSzTx/>
              <a:buFontTx/>
              <a:buNone/>
              <a:tabLst/>
              <a:defRPr sz="1000">
                <a:solidFill>
                  <a:srgbClr val="FF7575"/>
                </a:solidFill>
              </a:defRPr>
            </a:lvl1pPr>
          </a:lstStyle>
          <a:p>
            <a:pPr>
              <a:defRPr/>
            </a:pPr>
            <a:endParaRPr lang="fr-FR"/>
          </a:p>
        </p:txBody>
      </p:sp>
    </p:spTree>
    <p:extLst>
      <p:ext uri="{BB962C8B-B14F-4D97-AF65-F5344CB8AC3E}">
        <p14:creationId xmlns:p14="http://schemas.microsoft.com/office/powerpoint/2010/main" val="26770300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324559188"/>
      </p:ext>
    </p:extLst>
  </p:cSld>
  <p:clrMapOvr>
    <a:masterClrMapping/>
  </p:clrMapOvr>
  <p:transition spd="med">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cSld name="29_Title and Content">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084"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Connecteur droit 9"/>
          <p:cNvCxnSpPr/>
          <p:nvPr/>
        </p:nvCxnSpPr>
        <p:spPr>
          <a:xfrm>
            <a:off x="152400" y="538163"/>
            <a:ext cx="813752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 name="Connecteur droit 17"/>
          <p:cNvCxnSpPr/>
          <p:nvPr/>
        </p:nvCxnSpPr>
        <p:spPr>
          <a:xfrm>
            <a:off x="152400" y="6524625"/>
            <a:ext cx="8763000"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371475" y="6561138"/>
            <a:ext cx="8540750" cy="296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rtl="1" eaLnBrk="1" hangingPunct="1">
              <a:defRPr/>
            </a:pPr>
            <a:r>
              <a:rPr lang="fr-FR" sz="1000" dirty="0">
                <a:solidFill>
                  <a:srgbClr val="000000">
                    <a:lumMod val="75000"/>
                  </a:srgbClr>
                </a:solidFill>
                <a:latin typeface="Arial" pitchFamily="34" charset="0"/>
                <a:cs typeface="Arial" pitchFamily="34" charset="0"/>
              </a:rPr>
              <a:t>24</a:t>
            </a:r>
            <a:r>
              <a:rPr lang="ar-TN" sz="1000" dirty="0">
                <a:solidFill>
                  <a:srgbClr val="000000">
                    <a:lumMod val="75000"/>
                  </a:srgbClr>
                </a:solidFill>
                <a:latin typeface="Arial" pitchFamily="34" charset="0"/>
                <a:cs typeface="Arial" pitchFamily="34" charset="0"/>
              </a:rPr>
              <a:t> أفريل 2015 </a:t>
            </a:r>
            <a:r>
              <a:rPr lang="fr-FR" sz="1000" dirty="0">
                <a:solidFill>
                  <a:srgbClr val="000000">
                    <a:lumMod val="75000"/>
                  </a:srgbClr>
                </a:solidFill>
                <a:latin typeface="Arial" pitchFamily="34" charset="0"/>
                <a:cs typeface="Arial" pitchFamily="34" charset="0"/>
              </a:rPr>
              <a:t>			</a:t>
            </a:r>
            <a:r>
              <a:rPr lang="ar-TN" sz="1000" dirty="0">
                <a:solidFill>
                  <a:srgbClr val="000000">
                    <a:lumMod val="75000"/>
                  </a:srgbClr>
                </a:solidFill>
                <a:latin typeface="Arial" pitchFamily="34" charset="0"/>
                <a:cs typeface="Arial" pitchFamily="34" charset="0"/>
              </a:rPr>
              <a:t>وزارة التنمية والاستثمار والتعاون الدولي – </a:t>
            </a:r>
            <a:r>
              <a:rPr lang="fr-FR" sz="1000" dirty="0">
                <a:solidFill>
                  <a:srgbClr val="000000">
                    <a:lumMod val="75000"/>
                  </a:srgbClr>
                </a:solidFill>
                <a:latin typeface="Arial" pitchFamily="34" charset="0"/>
                <a:cs typeface="Arial" pitchFamily="34" charset="0"/>
              </a:rPr>
              <a:t> </a:t>
            </a:r>
            <a:r>
              <a:rPr lang="ar-TN" sz="1000" dirty="0">
                <a:solidFill>
                  <a:srgbClr val="000000">
                    <a:lumMod val="75000"/>
                  </a:srgbClr>
                </a:solidFill>
                <a:latin typeface="Arial" pitchFamily="34" charset="0"/>
                <a:cs typeface="Arial" pitchFamily="34" charset="0"/>
              </a:rPr>
              <a:t>اللجنة التنفيذية لمراجعة مجلة تشجيع الاستثمارات</a:t>
            </a:r>
            <a:endParaRPr lang="fr-FR" sz="1000" dirty="0">
              <a:solidFill>
                <a:srgbClr val="000000">
                  <a:lumMod val="75000"/>
                </a:srgbClr>
              </a:solidFill>
              <a:latin typeface="Arial" pitchFamily="34" charset="0"/>
              <a:cs typeface="Arial" pitchFamily="34" charset="0"/>
            </a:endParaRPr>
          </a:p>
        </p:txBody>
      </p:sp>
      <p:cxnSp>
        <p:nvCxnSpPr>
          <p:cNvPr id="9" name="Connecteur droit 9"/>
          <p:cNvCxnSpPr/>
          <p:nvPr/>
        </p:nvCxnSpPr>
        <p:spPr>
          <a:xfrm rot="5400000">
            <a:off x="5391150" y="274638"/>
            <a:ext cx="54927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 name="Connecteur droit 9"/>
          <p:cNvCxnSpPr/>
          <p:nvPr/>
        </p:nvCxnSpPr>
        <p:spPr>
          <a:xfrm>
            <a:off x="130175" y="1228725"/>
            <a:ext cx="8763000"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2" descr="http://i.huffpost.com/gen/1262883/images/o-DRAPEAU-TUNISIE-facebook.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6325" y="6608763"/>
            <a:ext cx="27463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123378" y="13386"/>
            <a:ext cx="5450114" cy="509133"/>
          </a:xfrm>
        </p:spPr>
        <p:txBody>
          <a:bodyPr>
            <a:normAutofit/>
          </a:bodyPr>
          <a:lstStyle>
            <a:lvl1pPr algn="r">
              <a:defRPr sz="1400">
                <a:latin typeface="Arial" pitchFamily="34" charset="0"/>
                <a:cs typeface="Arial" pitchFamily="34" charset="0"/>
              </a:defRPr>
            </a:lvl1pPr>
          </a:lstStyle>
          <a:p>
            <a:r>
              <a:rPr lang="fr-FR" smtClean="0"/>
              <a:t>Cliquez pour modifier le style du titre</a:t>
            </a:r>
            <a:endParaRPr lang="fr-FR" dirty="0"/>
          </a:p>
        </p:txBody>
      </p:sp>
      <p:sp>
        <p:nvSpPr>
          <p:cNvPr id="21" name="Text Placeholder 4"/>
          <p:cNvSpPr>
            <a:spLocks noGrp="1"/>
          </p:cNvSpPr>
          <p:nvPr>
            <p:ph type="body" sz="quarter" idx="3"/>
          </p:nvPr>
        </p:nvSpPr>
        <p:spPr>
          <a:xfrm>
            <a:off x="5689608" y="0"/>
            <a:ext cx="2612564" cy="522514"/>
          </a:xfrm>
        </p:spPr>
        <p:txBody>
          <a:bodyPr anchor="ctr">
            <a:normAutofit/>
          </a:bodyPr>
          <a:lstStyle>
            <a:lvl1pPr marL="0" indent="0">
              <a:buNone/>
              <a:defRPr kumimoji="0" lang="en-US" sz="16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29" name="Text Placeholder 28"/>
          <p:cNvSpPr>
            <a:spLocks noGrp="1"/>
          </p:cNvSpPr>
          <p:nvPr>
            <p:ph type="body" sz="quarter" idx="23"/>
          </p:nvPr>
        </p:nvSpPr>
        <p:spPr>
          <a:xfrm>
            <a:off x="164012" y="508681"/>
            <a:ext cx="8138160" cy="710519"/>
          </a:xfrm>
        </p:spPr>
        <p:txBody>
          <a:bodyPr anchor="ctr">
            <a:normAutofit/>
          </a:bodyPr>
          <a:lstStyle>
            <a:lvl1pPr marL="0" indent="0" algn="r" rtl="1">
              <a:buNone/>
              <a:defRPr sz="1200">
                <a:latin typeface="Arial" pitchFamily="34" charset="0"/>
                <a:cs typeface="Arial" pitchFamily="34" charset="0"/>
              </a:defRPr>
            </a:lvl1pPr>
            <a:lvl2pPr>
              <a:buNone/>
              <a:defRPr/>
            </a:lvl2pPr>
          </a:lstStyle>
          <a:p>
            <a:pPr lvl="0"/>
            <a:r>
              <a:rPr lang="fr-FR" smtClean="0"/>
              <a:t>Cliquez pour modifier les styles du texte du masque</a:t>
            </a:r>
          </a:p>
        </p:txBody>
      </p:sp>
      <p:sp>
        <p:nvSpPr>
          <p:cNvPr id="13" name="Slide Number Placeholder 19"/>
          <p:cNvSpPr>
            <a:spLocks noGrp="1"/>
          </p:cNvSpPr>
          <p:nvPr>
            <p:ph type="sldNum" sz="quarter" idx="24"/>
          </p:nvPr>
        </p:nvSpPr>
        <p:spPr>
          <a:xfrm>
            <a:off x="188913" y="6524625"/>
            <a:ext cx="304800" cy="333375"/>
          </a:xfrm>
        </p:spPr>
        <p:txBody>
          <a:bodyPr rIns="0"/>
          <a:lstStyle>
            <a:lvl1pPr>
              <a:defRPr sz="1000">
                <a:solidFill>
                  <a:srgbClr val="008080"/>
                </a:solidFill>
                <a:latin typeface="Arial" panose="020B0604020202020204" pitchFamily="34" charset="0"/>
                <a:cs typeface="Arial" panose="020B0604020202020204" pitchFamily="34" charset="0"/>
              </a:defRPr>
            </a:lvl1pPr>
          </a:lstStyle>
          <a:p>
            <a:pPr>
              <a:defRPr/>
            </a:pPr>
            <a:fld id="{2B357399-FBAC-476E-82E2-FA349C2C70E3}" type="slidenum">
              <a:rPr lang="fr-FR" altLang="fr-FR"/>
              <a:pPr>
                <a:defRPr/>
              </a:pPr>
              <a:t>‹N°›</a:t>
            </a:fld>
            <a:endParaRPr lang="fr-FR" altLang="fr-FR"/>
          </a:p>
        </p:txBody>
      </p:sp>
    </p:spTree>
    <p:extLst>
      <p:ext uri="{BB962C8B-B14F-4D97-AF65-F5344CB8AC3E}">
        <p14:creationId xmlns:p14="http://schemas.microsoft.com/office/powerpoint/2010/main" val="3662481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2_Title Only">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10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11E2EFFA-F53E-4F6A-BD27-C4F5A3393111}"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3669513D-F9BA-4704-A88B-07F8C0EA2CE6}" type="slidenum">
              <a:rPr lang="fr-FR" altLang="fr-FR"/>
              <a:pPr>
                <a:defRPr/>
              </a:pPr>
              <a:t>‹N°›</a:t>
            </a:fld>
            <a:endParaRPr lang="fr-FR" altLang="fr-FR"/>
          </a:p>
        </p:txBody>
      </p:sp>
    </p:spTree>
    <p:extLst>
      <p:ext uri="{BB962C8B-B14F-4D97-AF65-F5344CB8AC3E}">
        <p14:creationId xmlns:p14="http://schemas.microsoft.com/office/powerpoint/2010/main" val="7820413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3_Title Only">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132"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fr-FR" smtClean="0"/>
              <a:t>Cliquez pour modifier le style du titre</a:t>
            </a:r>
            <a:endParaRPr lang="en-US"/>
          </a:p>
        </p:txBody>
      </p:sp>
      <p:sp>
        <p:nvSpPr>
          <p:cNvPr id="4" name="Date Placeholder 3"/>
          <p:cNvSpPr>
            <a:spLocks noGrp="1"/>
          </p:cNvSpPr>
          <p:nvPr>
            <p:ph type="dt" sz="half" idx="10"/>
          </p:nvPr>
        </p:nvSpPr>
        <p:spPr/>
        <p:txBody>
          <a:bodyPr/>
          <a:lstStyle>
            <a:lvl1pPr>
              <a:defRPr/>
            </a:lvl1pPr>
          </a:lstStyle>
          <a:p>
            <a:pPr>
              <a:defRPr/>
            </a:pPr>
            <a:fld id="{5F1B1BF8-03EF-439B-A3D8-84C33DD804C1}" type="datetimeFigureOut">
              <a:rPr lang="fr-FR"/>
              <a:pPr>
                <a:defRPr/>
              </a:pPr>
              <a:t>27/09/2018</a:t>
            </a:fld>
            <a:endParaRPr lang="fr-FR"/>
          </a:p>
        </p:txBody>
      </p:sp>
      <p:sp>
        <p:nvSpPr>
          <p:cNvPr id="5" name="Footer Placeholder 4"/>
          <p:cNvSpPr>
            <a:spLocks noGrp="1"/>
          </p:cNvSpPr>
          <p:nvPr>
            <p:ph type="ftr" sz="quarter" idx="11"/>
          </p:nvPr>
        </p:nvSpPr>
        <p:spPr/>
        <p:txBody>
          <a:bodyPr/>
          <a:lstStyle>
            <a:lvl1pPr>
              <a:defRPr/>
            </a:lvl1pPr>
          </a:lstStyle>
          <a:p>
            <a:pPr>
              <a:defRPr/>
            </a:pPr>
            <a:endParaRPr lang="fr-F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9A954A83-8049-4CF0-AA80-9B6B706A66E6}" type="slidenum">
              <a:rPr lang="fr-FR" altLang="fr-FR"/>
              <a:pPr>
                <a:defRPr/>
              </a:pPr>
              <a:t>‹N°›</a:t>
            </a:fld>
            <a:endParaRPr lang="fr-FR" altLang="fr-FR"/>
          </a:p>
        </p:txBody>
      </p:sp>
    </p:spTree>
    <p:extLst>
      <p:ext uri="{BB962C8B-B14F-4D97-AF65-F5344CB8AC3E}">
        <p14:creationId xmlns:p14="http://schemas.microsoft.com/office/powerpoint/2010/main" val="824109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156"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0" y="0"/>
            <a:ext cx="971550" cy="14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0" y="171450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solidFill>
                <a:srgbClr val="FFFFFF"/>
              </a:solidFill>
            </a:endParaRPr>
          </a:p>
        </p:txBody>
      </p:sp>
    </p:spTree>
    <p:extLst>
      <p:ext uri="{BB962C8B-B14F-4D97-AF65-F5344CB8AC3E}">
        <p14:creationId xmlns:p14="http://schemas.microsoft.com/office/powerpoint/2010/main" val="26572757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re_1">
    <p:spTree>
      <p:nvGrpSpPr>
        <p:cNvPr id="1" name=""/>
        <p:cNvGrpSpPr/>
        <p:nvPr/>
      </p:nvGrpSpPr>
      <p:grpSpPr>
        <a:xfrm>
          <a:off x="0" y="0"/>
          <a:ext cx="0" cy="0"/>
          <a:chOff x="0" y="0"/>
          <a:chExt cx="0" cy="0"/>
        </a:xfrm>
      </p:grpSpPr>
      <p:sp>
        <p:nvSpPr>
          <p:cNvPr id="2" name="Titre 1"/>
          <p:cNvSpPr>
            <a:spLocks noGrp="1"/>
          </p:cNvSpPr>
          <p:nvPr>
            <p:ph type="ctrTitle"/>
          </p:nvPr>
        </p:nvSpPr>
        <p:spPr>
          <a:xfrm>
            <a:off x="251520" y="2996952"/>
            <a:ext cx="8784976" cy="2016224"/>
          </a:xfrm>
        </p:spPr>
        <p:txBody>
          <a:bodyPr/>
          <a:lstStyle/>
          <a:p>
            <a:r>
              <a:rPr lang="fr-FR" smtClean="0"/>
              <a:t>Modifiez le style du titre</a:t>
            </a:r>
            <a:endParaRPr lang="fr-FR"/>
          </a:p>
        </p:txBody>
      </p:sp>
      <p:sp>
        <p:nvSpPr>
          <p:cNvPr id="3" name="Sous-titre 2"/>
          <p:cNvSpPr>
            <a:spLocks noGrp="1"/>
          </p:cNvSpPr>
          <p:nvPr>
            <p:ph type="subTitle" idx="1"/>
          </p:nvPr>
        </p:nvSpPr>
        <p:spPr>
          <a:xfrm>
            <a:off x="2743200" y="5517232"/>
            <a:ext cx="6400800" cy="1176536"/>
          </a:xfrm>
          <a:prstGeom prst="rect">
            <a:avLst/>
          </a:prstGeom>
        </p:spPr>
        <p:txBody>
          <a:bodyPr>
            <a:normAutofit/>
          </a:bodyPr>
          <a:lstStyle>
            <a:lvl1pPr marL="0" indent="0" algn="r">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Tree>
    <p:extLst>
      <p:ext uri="{BB962C8B-B14F-4D97-AF65-F5344CB8AC3E}">
        <p14:creationId xmlns:p14="http://schemas.microsoft.com/office/powerpoint/2010/main" val="36388194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re_2">
    <p:spTree>
      <p:nvGrpSpPr>
        <p:cNvPr id="1" name=""/>
        <p:cNvGrpSpPr/>
        <p:nvPr/>
      </p:nvGrpSpPr>
      <p:grpSpPr>
        <a:xfrm>
          <a:off x="0" y="0"/>
          <a:ext cx="0" cy="0"/>
          <a:chOff x="0" y="0"/>
          <a:chExt cx="0" cy="0"/>
        </a:xfrm>
      </p:grpSpPr>
      <p:sp>
        <p:nvSpPr>
          <p:cNvPr id="2" name="Titre 1"/>
          <p:cNvSpPr>
            <a:spLocks noGrp="1"/>
          </p:cNvSpPr>
          <p:nvPr>
            <p:ph type="ctrTitle"/>
          </p:nvPr>
        </p:nvSpPr>
        <p:spPr>
          <a:xfrm>
            <a:off x="0" y="3429000"/>
            <a:ext cx="7772400" cy="2160240"/>
          </a:xfrm>
        </p:spPr>
        <p:txBody>
          <a:bodyPr/>
          <a:lstStyle>
            <a:lvl1pPr>
              <a:defRPr/>
            </a:lvl1pPr>
          </a:lstStyle>
          <a:p>
            <a:r>
              <a:rPr lang="fr-FR" smtClean="0"/>
              <a:t>Modifiez le style du titre</a:t>
            </a:r>
            <a:endParaRPr lang="fr-FR" dirty="0"/>
          </a:p>
        </p:txBody>
      </p:sp>
    </p:spTree>
    <p:extLst>
      <p:ext uri="{BB962C8B-B14F-4D97-AF65-F5344CB8AC3E}">
        <p14:creationId xmlns:p14="http://schemas.microsoft.com/office/powerpoint/2010/main" val="30256801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Titre_3">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dirty="0"/>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Tree>
    <p:extLst>
      <p:ext uri="{BB962C8B-B14F-4D97-AF65-F5344CB8AC3E}">
        <p14:creationId xmlns:p14="http://schemas.microsoft.com/office/powerpoint/2010/main" val="4652831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Titre_4">
    <p:spTree>
      <p:nvGrpSpPr>
        <p:cNvPr id="1" name=""/>
        <p:cNvGrpSpPr/>
        <p:nvPr/>
      </p:nvGrpSpPr>
      <p:grpSpPr>
        <a:xfrm>
          <a:off x="0" y="0"/>
          <a:ext cx="0" cy="0"/>
          <a:chOff x="0" y="0"/>
          <a:chExt cx="0" cy="0"/>
        </a:xfrm>
      </p:grpSpPr>
      <p:sp>
        <p:nvSpPr>
          <p:cNvPr id="2" name="Titre 1"/>
          <p:cNvSpPr>
            <a:spLocks noGrp="1"/>
          </p:cNvSpPr>
          <p:nvPr>
            <p:ph type="title"/>
          </p:nvPr>
        </p:nvSpPr>
        <p:spPr>
          <a:xfrm>
            <a:off x="755576" y="3284984"/>
            <a:ext cx="7772400" cy="1362075"/>
          </a:xfrm>
        </p:spPr>
        <p:txBody>
          <a:bodyPr anchor="t"/>
          <a:lstStyle>
            <a:lvl1pPr algn="l">
              <a:defRPr sz="4000" b="1" cap="all"/>
            </a:lvl1pPr>
          </a:lstStyle>
          <a:p>
            <a:r>
              <a:rPr lang="fr-FR" smtClean="0"/>
              <a:t>Modifiez le style du titre</a:t>
            </a:r>
            <a:endParaRPr lang="fr-FR" dirty="0"/>
          </a:p>
        </p:txBody>
      </p:sp>
      <p:sp>
        <p:nvSpPr>
          <p:cNvPr id="3" name="Espace réservé du texte 2"/>
          <p:cNvSpPr>
            <a:spLocks noGrp="1"/>
          </p:cNvSpPr>
          <p:nvPr>
            <p:ph type="body" idx="1"/>
          </p:nvPr>
        </p:nvSpPr>
        <p:spPr>
          <a:xfrm>
            <a:off x="755576" y="4653136"/>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Tree>
    <p:extLst>
      <p:ext uri="{BB962C8B-B14F-4D97-AF65-F5344CB8AC3E}">
        <p14:creationId xmlns:p14="http://schemas.microsoft.com/office/powerpoint/2010/main" val="10572636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re_5">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67544" y="2780928"/>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3429001"/>
            <a:ext cx="4040188" cy="269716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u texte 4"/>
          <p:cNvSpPr>
            <a:spLocks noGrp="1"/>
          </p:cNvSpPr>
          <p:nvPr>
            <p:ph type="body" sz="quarter" idx="3"/>
          </p:nvPr>
        </p:nvSpPr>
        <p:spPr>
          <a:xfrm>
            <a:off x="4644008" y="2780928"/>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3428999"/>
            <a:ext cx="4041775" cy="26971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29158708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re_6">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57200" y="3068960"/>
            <a:ext cx="4038600" cy="305720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contenu 3"/>
          <p:cNvSpPr>
            <a:spLocks noGrp="1"/>
          </p:cNvSpPr>
          <p:nvPr>
            <p:ph sz="half" idx="2"/>
          </p:nvPr>
        </p:nvSpPr>
        <p:spPr>
          <a:xfrm>
            <a:off x="4648200" y="3068960"/>
            <a:ext cx="4038600" cy="305720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5151649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874207021"/>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re_7">
    <p:spTree>
      <p:nvGrpSpPr>
        <p:cNvPr id="1" name=""/>
        <p:cNvGrpSpPr/>
        <p:nvPr/>
      </p:nvGrpSpPr>
      <p:grpSpPr>
        <a:xfrm>
          <a:off x="0" y="0"/>
          <a:ext cx="0" cy="0"/>
          <a:chOff x="0" y="0"/>
          <a:chExt cx="0" cy="0"/>
        </a:xfrm>
      </p:grpSpPr>
      <p:sp>
        <p:nvSpPr>
          <p:cNvPr id="2" name="Titre 1"/>
          <p:cNvSpPr>
            <a:spLocks noGrp="1"/>
          </p:cNvSpPr>
          <p:nvPr>
            <p:ph type="title"/>
          </p:nvPr>
        </p:nvSpPr>
        <p:spPr>
          <a:xfrm>
            <a:off x="395536" y="3861048"/>
            <a:ext cx="8229600" cy="1143000"/>
          </a:xfrm>
        </p:spPr>
        <p:txBody>
          <a:bodyPr/>
          <a:lstStyle/>
          <a:p>
            <a:r>
              <a:rPr lang="fr-FR" smtClean="0"/>
              <a:t>Modifiez le style du titre</a:t>
            </a:r>
            <a:endParaRPr lang="fr-FR"/>
          </a:p>
        </p:txBody>
      </p:sp>
    </p:spTree>
    <p:extLst>
      <p:ext uri="{BB962C8B-B14F-4D97-AF65-F5344CB8AC3E}">
        <p14:creationId xmlns:p14="http://schemas.microsoft.com/office/powerpoint/2010/main" val="348783605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Titre_8">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40821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Titre_9">
    <p:spTree>
      <p:nvGrpSpPr>
        <p:cNvPr id="1" name=""/>
        <p:cNvGrpSpPr/>
        <p:nvPr/>
      </p:nvGrpSpPr>
      <p:grpSpPr>
        <a:xfrm>
          <a:off x="0" y="0"/>
          <a:ext cx="0" cy="0"/>
          <a:chOff x="0" y="0"/>
          <a:chExt cx="0" cy="0"/>
        </a:xfrm>
      </p:grpSpPr>
      <p:sp>
        <p:nvSpPr>
          <p:cNvPr id="2" name="Titre 1"/>
          <p:cNvSpPr>
            <a:spLocks noGrp="1"/>
          </p:cNvSpPr>
          <p:nvPr>
            <p:ph type="title"/>
          </p:nvPr>
        </p:nvSpPr>
        <p:spPr>
          <a:xfrm>
            <a:off x="467544" y="2748061"/>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48061"/>
            <a:ext cx="5111750" cy="3489251"/>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3900189"/>
            <a:ext cx="3008313" cy="233712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24886226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Titre_10">
    <p:spTree>
      <p:nvGrpSpPr>
        <p:cNvPr id="1" name=""/>
        <p:cNvGrpSpPr/>
        <p:nvPr/>
      </p:nvGrpSpPr>
      <p:grpSpPr>
        <a:xfrm>
          <a:off x="0" y="0"/>
          <a:ext cx="0" cy="0"/>
          <a:chOff x="0" y="0"/>
          <a:chExt cx="0" cy="0"/>
        </a:xfrm>
      </p:grpSpPr>
      <p:sp>
        <p:nvSpPr>
          <p:cNvPr id="2" name="Titre 1"/>
          <p:cNvSpPr>
            <a:spLocks noGrp="1"/>
          </p:cNvSpPr>
          <p:nvPr>
            <p:ph type="title"/>
          </p:nvPr>
        </p:nvSpPr>
        <p:spPr>
          <a:xfrm>
            <a:off x="1792288" y="5153744"/>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2708920"/>
            <a:ext cx="5486400" cy="230425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endParaRPr lang="fr-FR" noProof="0"/>
          </a:p>
        </p:txBody>
      </p:sp>
      <p:sp>
        <p:nvSpPr>
          <p:cNvPr id="4" name="Espace réservé du texte 3"/>
          <p:cNvSpPr>
            <a:spLocks noGrp="1"/>
          </p:cNvSpPr>
          <p:nvPr>
            <p:ph type="body" sz="half" idx="2"/>
          </p:nvPr>
        </p:nvSpPr>
        <p:spPr>
          <a:xfrm>
            <a:off x="1792288" y="5720482"/>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27308798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a:xfrm>
            <a:off x="468313" y="1341438"/>
            <a:ext cx="8229600" cy="4525962"/>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76258226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898553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pic>
        <p:nvPicPr>
          <p:cNvPr id="4" name="Image 3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3050" y="6532563"/>
            <a:ext cx="25209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4830729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9485556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3158577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Tree>
    <p:extLst>
      <p:ext uri="{BB962C8B-B14F-4D97-AF65-F5344CB8AC3E}">
        <p14:creationId xmlns:p14="http://schemas.microsoft.com/office/powerpoint/2010/main" val="19665391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79874220"/>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fr-FR" sz="3200" smtClean="0">
                <a:solidFill>
                  <a:srgbClr val="FFFFFF"/>
                </a:solidFill>
                <a:latin typeface="Calibri"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169112352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a:t>Cliquez pour modifier le style du titre</a:t>
            </a:r>
          </a:p>
        </p:txBody>
      </p:sp>
    </p:spTree>
    <p:extLst>
      <p:ext uri="{BB962C8B-B14F-4D97-AF65-F5344CB8AC3E}">
        <p14:creationId xmlns:p14="http://schemas.microsoft.com/office/powerpoint/2010/main" val="352986054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pour modifier le style du titre</a:t>
            </a:r>
          </a:p>
        </p:txBody>
      </p:sp>
      <p:sp>
        <p:nvSpPr>
          <p:cNvPr id="3" name="Espace réservé du texte vertical 2"/>
          <p:cNvSpPr>
            <a:spLocks noGrp="1"/>
          </p:cNvSpPr>
          <p:nvPr>
            <p:ph type="body" orient="vert"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4424394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4268342324"/>
      </p:ext>
    </p:extLst>
  </p:cSld>
  <p:clrMapOvr>
    <a:masterClrMapping/>
  </p:clrMapOvr>
  <p:transition advClick="0" advTm="3000">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5143" y="1932683"/>
            <a:ext cx="7311615" cy="1333580"/>
          </a:xfrm>
        </p:spPr>
        <p:txBody>
          <a:bodyPr/>
          <a:lstStyle/>
          <a:p>
            <a:r>
              <a:rPr lang="en-US"/>
              <a:t>Click to edit Master title style</a:t>
            </a:r>
          </a:p>
        </p:txBody>
      </p:sp>
      <p:sp>
        <p:nvSpPr>
          <p:cNvPr id="3" name="Subtitle 2"/>
          <p:cNvSpPr>
            <a:spLocks noGrp="1"/>
          </p:cNvSpPr>
          <p:nvPr>
            <p:ph type="subTitle" idx="1"/>
          </p:nvPr>
        </p:nvSpPr>
        <p:spPr>
          <a:xfrm>
            <a:off x="1290285" y="3525490"/>
            <a:ext cx="6021330" cy="1589927"/>
          </a:xfrm>
        </p:spPr>
        <p:txBody>
          <a:bodyPr/>
          <a:lstStyle>
            <a:lvl1pPr marL="0" indent="0" algn="ctr">
              <a:buNone/>
              <a:defRPr>
                <a:solidFill>
                  <a:schemeClr val="tx1">
                    <a:tint val="75000"/>
                  </a:schemeClr>
                </a:solidFill>
              </a:defRPr>
            </a:lvl1pPr>
            <a:lvl2pPr marL="423367" indent="0" algn="ctr">
              <a:buNone/>
              <a:defRPr>
                <a:solidFill>
                  <a:schemeClr val="tx1">
                    <a:tint val="75000"/>
                  </a:schemeClr>
                </a:solidFill>
              </a:defRPr>
            </a:lvl2pPr>
            <a:lvl3pPr marL="846734" indent="0" algn="ctr">
              <a:buNone/>
              <a:defRPr>
                <a:solidFill>
                  <a:schemeClr val="tx1">
                    <a:tint val="75000"/>
                  </a:schemeClr>
                </a:solidFill>
              </a:defRPr>
            </a:lvl3pPr>
            <a:lvl4pPr marL="1270102" indent="0" algn="ctr">
              <a:buNone/>
              <a:defRPr>
                <a:solidFill>
                  <a:schemeClr val="tx1">
                    <a:tint val="75000"/>
                  </a:schemeClr>
                </a:solidFill>
              </a:defRPr>
            </a:lvl4pPr>
            <a:lvl5pPr marL="1693469" indent="0" algn="ctr">
              <a:buNone/>
              <a:defRPr>
                <a:solidFill>
                  <a:schemeClr val="tx1">
                    <a:tint val="75000"/>
                  </a:schemeClr>
                </a:solidFill>
              </a:defRPr>
            </a:lvl5pPr>
            <a:lvl6pPr marL="2116836" indent="0" algn="ctr">
              <a:buNone/>
              <a:defRPr>
                <a:solidFill>
                  <a:schemeClr val="tx1">
                    <a:tint val="75000"/>
                  </a:schemeClr>
                </a:solidFill>
              </a:defRPr>
            </a:lvl6pPr>
            <a:lvl7pPr marL="2540203" indent="0" algn="ctr">
              <a:buNone/>
              <a:defRPr>
                <a:solidFill>
                  <a:schemeClr val="tx1">
                    <a:tint val="75000"/>
                  </a:schemeClr>
                </a:solidFill>
              </a:defRPr>
            </a:lvl7pPr>
            <a:lvl8pPr marL="2963570" indent="0" algn="ctr">
              <a:buNone/>
              <a:defRPr>
                <a:solidFill>
                  <a:schemeClr val="tx1">
                    <a:tint val="75000"/>
                  </a:schemeClr>
                </a:solidFill>
              </a:defRPr>
            </a:lvl8pPr>
            <a:lvl9pPr marL="338693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fld id="{E24BD8E6-D7D8-4EF3-B54E-37612147D61A}" type="datetimeFigureOut">
              <a:rPr lang="en-US"/>
              <a:pPr>
                <a:defRPr/>
              </a:pPr>
              <a:t>9/27/2018</a:t>
            </a:fld>
            <a:endParaRPr lang="en-US"/>
          </a:p>
        </p:txBody>
      </p:sp>
      <p:sp>
        <p:nvSpPr>
          <p:cNvPr id="5" name="Footer Placeholder 4"/>
          <p:cNvSpPr>
            <a:spLocks noGrp="1"/>
          </p:cNvSpPr>
          <p:nvPr>
            <p:ph type="ftr" sz="quarter" idx="11"/>
          </p:nvPr>
        </p:nvSpPr>
        <p:spPr>
          <a:xfrm>
            <a:off x="2938463" y="5765800"/>
            <a:ext cx="2724150" cy="331788"/>
          </a:xfrm>
          <a:prstGeom prst="rect">
            <a:avLst/>
          </a:prstGeom>
        </p:spPr>
        <p:txBody>
          <a:bodyPr lIns="84673" tIns="42337" rIns="84673" bIns="42337"/>
          <a:lstStyle>
            <a:lvl1pPr eaLnBrk="1" hangingPunct="1">
              <a:spcBef>
                <a:spcPct val="50000"/>
              </a:spcBef>
              <a:defRPr>
                <a:solidFill>
                  <a:srgbClr val="981150"/>
                </a:solidFill>
                <a:latin typeface="Arial" charset="0"/>
              </a:defRPr>
            </a:lvl1pPr>
          </a:lstStyle>
          <a:p>
            <a:pPr>
              <a:defRPr/>
            </a:pPr>
            <a:endParaRPr lang="en-US"/>
          </a:p>
        </p:txBody>
      </p:sp>
      <p:sp>
        <p:nvSpPr>
          <p:cNvPr id="6" name="Slide Number Placeholder 5"/>
          <p:cNvSpPr>
            <a:spLocks noGrp="1"/>
          </p:cNvSpPr>
          <p:nvPr>
            <p:ph type="sldNum" sz="quarter" idx="12"/>
          </p:nvPr>
        </p:nvSpPr>
        <p:spPr>
          <a:xfrm>
            <a:off x="6164263" y="5765800"/>
            <a:ext cx="2008187" cy="331788"/>
          </a:xfrm>
          <a:prstGeom prst="rect">
            <a:avLst/>
          </a:prstGeom>
        </p:spPr>
        <p:txBody>
          <a:bodyPr vert="horz" wrap="square" lIns="84673" tIns="42337" rIns="84673" bIns="42337" numCol="1" anchor="t" anchorCtr="0" compatLnSpc="1">
            <a:prstTxWarp prst="textNoShape">
              <a:avLst/>
            </a:prstTxWarp>
          </a:bodyPr>
          <a:lstStyle>
            <a:lvl1pPr eaLnBrk="1" hangingPunct="1">
              <a:spcBef>
                <a:spcPct val="50000"/>
              </a:spcBef>
              <a:defRPr>
                <a:solidFill>
                  <a:srgbClr val="981150"/>
                </a:solidFill>
                <a:latin typeface="Century Gothic" panose="020B0502020202020204" pitchFamily="34" charset="0"/>
              </a:defRPr>
            </a:lvl1pPr>
          </a:lstStyle>
          <a:p>
            <a:pPr>
              <a:defRPr/>
            </a:pPr>
            <a:fld id="{353DDF31-72A7-41D6-8494-C71CBD0F8DCB}" type="slidenum">
              <a:rPr lang="en-US" altLang="fr-FR"/>
              <a:pPr>
                <a:defRPr/>
              </a:pPr>
              <a:t>‹N°›</a:t>
            </a:fld>
            <a:endParaRPr lang="en-US" altLang="fr-FR"/>
          </a:p>
        </p:txBody>
      </p:sp>
    </p:spTree>
    <p:extLst>
      <p:ext uri="{BB962C8B-B14F-4D97-AF65-F5344CB8AC3E}">
        <p14:creationId xmlns:p14="http://schemas.microsoft.com/office/powerpoint/2010/main" val="3385674614"/>
      </p:ext>
    </p:extLst>
  </p:cSld>
  <p:clrMapOvr>
    <a:masterClrMapping/>
  </p:clrMapOvr>
  <p:transition advClick="0" advTm="3000">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84213" y="630238"/>
            <a:ext cx="7991475" cy="1143000"/>
          </a:xfrm>
        </p:spPr>
        <p:txBody>
          <a:bodyPr/>
          <a:lstStyle/>
          <a:p>
            <a:r>
              <a:rPr lang="en-US"/>
              <a:t>Click to edit Master title style</a:t>
            </a:r>
            <a:endParaRPr lang="en-GB"/>
          </a:p>
        </p:txBody>
      </p:sp>
      <p:sp>
        <p:nvSpPr>
          <p:cNvPr id="3" name="Content Placeholder 2"/>
          <p:cNvSpPr>
            <a:spLocks noGrp="1"/>
          </p:cNvSpPr>
          <p:nvPr>
            <p:ph sz="quarter" idx="1"/>
          </p:nvPr>
        </p:nvSpPr>
        <p:spPr>
          <a:xfrm>
            <a:off x="755650" y="1916113"/>
            <a:ext cx="3883025" cy="2084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91075" y="1916113"/>
            <a:ext cx="3884613" cy="2084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755650" y="4152900"/>
            <a:ext cx="3883025" cy="2084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4791075" y="4152900"/>
            <a:ext cx="3884613" cy="2084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902325196"/>
      </p:ext>
    </p:extLst>
  </p:cSld>
  <p:clrMapOvr>
    <a:masterClrMapping/>
  </p:clrMapOvr>
  <p:transition advClick="0" advTm="3000">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5500440"/>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86721720"/>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144694791"/>
      </p:ext>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087593565"/>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5" name="Rectangle 4"/>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953592462"/>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78256913"/>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3357161899"/>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838753873"/>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1612373631"/>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218853225"/>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re_2">
    <p:spTree>
      <p:nvGrpSpPr>
        <p:cNvPr id="1" name=""/>
        <p:cNvGrpSpPr/>
        <p:nvPr/>
      </p:nvGrpSpPr>
      <p:grpSpPr>
        <a:xfrm>
          <a:off x="0" y="0"/>
          <a:ext cx="0" cy="0"/>
          <a:chOff x="0" y="0"/>
          <a:chExt cx="0" cy="0"/>
        </a:xfrm>
      </p:grpSpPr>
      <p:sp>
        <p:nvSpPr>
          <p:cNvPr id="2" name="Titre 1"/>
          <p:cNvSpPr>
            <a:spLocks noGrp="1"/>
          </p:cNvSpPr>
          <p:nvPr>
            <p:ph type="ctrTitle"/>
          </p:nvPr>
        </p:nvSpPr>
        <p:spPr>
          <a:xfrm>
            <a:off x="0" y="3429000"/>
            <a:ext cx="7772400" cy="2160240"/>
          </a:xfrm>
        </p:spPr>
        <p:txBody>
          <a:bodyPr/>
          <a:lstStyle>
            <a:lvl1pPr>
              <a:defRPr/>
            </a:lvl1pPr>
          </a:lstStyle>
          <a:p>
            <a:r>
              <a:rPr lang="fr-FR" smtClean="0"/>
              <a:t>Modifiez le style du titre</a:t>
            </a:r>
            <a:endParaRPr lang="fr-FR" dirty="0"/>
          </a:p>
        </p:txBody>
      </p:sp>
    </p:spTree>
    <p:extLst>
      <p:ext uri="{BB962C8B-B14F-4D97-AF65-F5344CB8AC3E}">
        <p14:creationId xmlns:p14="http://schemas.microsoft.com/office/powerpoint/2010/main" val="1737164678"/>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lvl1pPr eaLnBrk="1" fontAlgn="auto" hangingPunct="1">
              <a:spcBef>
                <a:spcPts val="0"/>
              </a:spcBef>
              <a:spcAft>
                <a:spcPts val="0"/>
              </a:spcAft>
              <a:defRPr>
                <a:solidFill>
                  <a:srgbClr val="981150"/>
                </a:solidFill>
                <a:latin typeface="Calibri"/>
              </a:defRPr>
            </a:lvl1pPr>
          </a:lstStyle>
          <a:p>
            <a:pPr>
              <a:defRPr/>
            </a:pPr>
            <a:fld id="{E6B8A69A-2F1C-40AA-9B48-0A89DAFDB663}" type="datetimeFigureOut">
              <a:rPr lang="fr-FR"/>
              <a:pPr>
                <a:defRPr/>
              </a:pPr>
              <a:t>27/09/2018</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solidFill>
                  <a:srgbClr val="981150"/>
                </a:solidFill>
                <a:latin typeface="Calibri"/>
              </a:defRPr>
            </a:lvl1pPr>
          </a:lstStyle>
          <a:p>
            <a:pPr>
              <a:defRPr/>
            </a:pPr>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981150"/>
                </a:solidFill>
                <a:latin typeface="Calibri" panose="020F0502020204030204" pitchFamily="34" charset="0"/>
              </a:defRPr>
            </a:lvl1pPr>
          </a:lstStyle>
          <a:p>
            <a:pPr>
              <a:defRPr/>
            </a:pPr>
            <a:fld id="{9C2BD5DB-941B-4F69-8921-63EDA21A1874}" type="slidenum">
              <a:rPr lang="fr-FR" altLang="fr-FR"/>
              <a:pPr>
                <a:defRPr/>
              </a:pPr>
              <a:t>‹N°›</a:t>
            </a:fld>
            <a:endParaRPr lang="fr-FR" altLang="fr-FR"/>
          </a:p>
        </p:txBody>
      </p:sp>
    </p:spTree>
    <p:extLst>
      <p:ext uri="{BB962C8B-B14F-4D97-AF65-F5344CB8AC3E}">
        <p14:creationId xmlns:p14="http://schemas.microsoft.com/office/powerpoint/2010/main" val="3264251009"/>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84213" y="630238"/>
            <a:ext cx="7991475" cy="1143000"/>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755650" y="1916113"/>
            <a:ext cx="3883025" cy="20843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791075" y="1916113"/>
            <a:ext cx="3884613" cy="20843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755650" y="4152900"/>
            <a:ext cx="3883025" cy="20843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791075" y="4152900"/>
            <a:ext cx="3884613" cy="20843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solidFill>
                  <a:srgbClr val="981150"/>
                </a:solidFill>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1223278852"/>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5816867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pic>
        <p:nvPicPr>
          <p:cNvPr id="4" name="Image 3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23050" y="6532563"/>
            <a:ext cx="25209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16610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7" name="Rectangle 6"/>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700209660"/>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4054904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606435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Tree>
    <p:extLst>
      <p:ext uri="{BB962C8B-B14F-4D97-AF65-F5344CB8AC3E}">
        <p14:creationId xmlns:p14="http://schemas.microsoft.com/office/powerpoint/2010/main" val="175229324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fr-FR" sz="3200" smtClean="0">
                <a:solidFill>
                  <a:srgbClr val="FFFFFF"/>
                </a:solidFill>
                <a:latin typeface="Calibri"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354383342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a:t>Cliquez pour modifier le style du titre</a:t>
            </a:r>
          </a:p>
        </p:txBody>
      </p:sp>
    </p:spTree>
    <p:extLst>
      <p:ext uri="{BB962C8B-B14F-4D97-AF65-F5344CB8AC3E}">
        <p14:creationId xmlns:p14="http://schemas.microsoft.com/office/powerpoint/2010/main" val="65136204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pour modifier le style du titre</a:t>
            </a:r>
          </a:p>
        </p:txBody>
      </p:sp>
      <p:sp>
        <p:nvSpPr>
          <p:cNvPr id="3" name="Espace réservé du texte vertical 2"/>
          <p:cNvSpPr>
            <a:spLocks noGrp="1"/>
          </p:cNvSpPr>
          <p:nvPr>
            <p:ph type="body" orient="vert"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52920639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1806188077"/>
      </p:ext>
    </p:extLst>
  </p:cSld>
  <p:clrMapOvr>
    <a:masterClrMapping/>
  </p:clrMapOvr>
  <p:transition advClick="0" advTm="3000">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5143" y="1932683"/>
            <a:ext cx="7311615" cy="1333580"/>
          </a:xfrm>
        </p:spPr>
        <p:txBody>
          <a:bodyPr/>
          <a:lstStyle/>
          <a:p>
            <a:r>
              <a:rPr lang="en-US"/>
              <a:t>Click to edit Master title style</a:t>
            </a:r>
          </a:p>
        </p:txBody>
      </p:sp>
      <p:sp>
        <p:nvSpPr>
          <p:cNvPr id="3" name="Subtitle 2"/>
          <p:cNvSpPr>
            <a:spLocks noGrp="1"/>
          </p:cNvSpPr>
          <p:nvPr>
            <p:ph type="subTitle" idx="1"/>
          </p:nvPr>
        </p:nvSpPr>
        <p:spPr>
          <a:xfrm>
            <a:off x="1290285" y="3525490"/>
            <a:ext cx="6021330" cy="1589927"/>
          </a:xfrm>
        </p:spPr>
        <p:txBody>
          <a:bodyPr/>
          <a:lstStyle>
            <a:lvl1pPr marL="0" indent="0" algn="ctr">
              <a:buNone/>
              <a:defRPr>
                <a:solidFill>
                  <a:schemeClr val="tx1">
                    <a:tint val="75000"/>
                  </a:schemeClr>
                </a:solidFill>
              </a:defRPr>
            </a:lvl1pPr>
            <a:lvl2pPr marL="423367" indent="0" algn="ctr">
              <a:buNone/>
              <a:defRPr>
                <a:solidFill>
                  <a:schemeClr val="tx1">
                    <a:tint val="75000"/>
                  </a:schemeClr>
                </a:solidFill>
              </a:defRPr>
            </a:lvl2pPr>
            <a:lvl3pPr marL="846734" indent="0" algn="ctr">
              <a:buNone/>
              <a:defRPr>
                <a:solidFill>
                  <a:schemeClr val="tx1">
                    <a:tint val="75000"/>
                  </a:schemeClr>
                </a:solidFill>
              </a:defRPr>
            </a:lvl3pPr>
            <a:lvl4pPr marL="1270102" indent="0" algn="ctr">
              <a:buNone/>
              <a:defRPr>
                <a:solidFill>
                  <a:schemeClr val="tx1">
                    <a:tint val="75000"/>
                  </a:schemeClr>
                </a:solidFill>
              </a:defRPr>
            </a:lvl4pPr>
            <a:lvl5pPr marL="1693469" indent="0" algn="ctr">
              <a:buNone/>
              <a:defRPr>
                <a:solidFill>
                  <a:schemeClr val="tx1">
                    <a:tint val="75000"/>
                  </a:schemeClr>
                </a:solidFill>
              </a:defRPr>
            </a:lvl5pPr>
            <a:lvl6pPr marL="2116836" indent="0" algn="ctr">
              <a:buNone/>
              <a:defRPr>
                <a:solidFill>
                  <a:schemeClr val="tx1">
                    <a:tint val="75000"/>
                  </a:schemeClr>
                </a:solidFill>
              </a:defRPr>
            </a:lvl6pPr>
            <a:lvl7pPr marL="2540203" indent="0" algn="ctr">
              <a:buNone/>
              <a:defRPr>
                <a:solidFill>
                  <a:schemeClr val="tx1">
                    <a:tint val="75000"/>
                  </a:schemeClr>
                </a:solidFill>
              </a:defRPr>
            </a:lvl7pPr>
            <a:lvl8pPr marL="2963570" indent="0" algn="ctr">
              <a:buNone/>
              <a:defRPr>
                <a:solidFill>
                  <a:schemeClr val="tx1">
                    <a:tint val="75000"/>
                  </a:schemeClr>
                </a:solidFill>
              </a:defRPr>
            </a:lvl8pPr>
            <a:lvl9pPr marL="338693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fld id="{371AC9DE-1B23-4626-AE75-0A7736ABC671}" type="datetimeFigureOut">
              <a:rPr lang="en-US"/>
              <a:pPr>
                <a:defRPr/>
              </a:pPr>
              <a:t>9/27/2018</a:t>
            </a:fld>
            <a:endParaRPr lang="en-US"/>
          </a:p>
        </p:txBody>
      </p:sp>
      <p:sp>
        <p:nvSpPr>
          <p:cNvPr id="5" name="Footer Placeholder 4"/>
          <p:cNvSpPr>
            <a:spLocks noGrp="1"/>
          </p:cNvSpPr>
          <p:nvPr>
            <p:ph type="ftr" sz="quarter" idx="11"/>
          </p:nvPr>
        </p:nvSpPr>
        <p:spPr>
          <a:xfrm>
            <a:off x="2938463" y="5765800"/>
            <a:ext cx="2724150" cy="331788"/>
          </a:xfrm>
          <a:prstGeom prst="rect">
            <a:avLst/>
          </a:prstGeom>
        </p:spPr>
        <p:txBody>
          <a:bodyPr lIns="84673" tIns="42337" rIns="84673" bIns="42337"/>
          <a:lstStyle>
            <a:lvl1pPr eaLnBrk="1" hangingPunct="1">
              <a:spcBef>
                <a:spcPct val="50000"/>
              </a:spcBef>
              <a:defRPr>
                <a:solidFill>
                  <a:srgbClr val="981150"/>
                </a:solidFill>
                <a:latin typeface="Arial" charset="0"/>
              </a:defRPr>
            </a:lvl1pPr>
          </a:lstStyle>
          <a:p>
            <a:pPr>
              <a:defRPr/>
            </a:pPr>
            <a:endParaRPr lang="en-US"/>
          </a:p>
        </p:txBody>
      </p:sp>
      <p:sp>
        <p:nvSpPr>
          <p:cNvPr id="6" name="Slide Number Placeholder 5"/>
          <p:cNvSpPr>
            <a:spLocks noGrp="1"/>
          </p:cNvSpPr>
          <p:nvPr>
            <p:ph type="sldNum" sz="quarter" idx="12"/>
          </p:nvPr>
        </p:nvSpPr>
        <p:spPr>
          <a:xfrm>
            <a:off x="6164263" y="5765800"/>
            <a:ext cx="2008187" cy="331788"/>
          </a:xfrm>
          <a:prstGeom prst="rect">
            <a:avLst/>
          </a:prstGeom>
        </p:spPr>
        <p:txBody>
          <a:bodyPr vert="horz" wrap="square" lIns="84673" tIns="42337" rIns="84673" bIns="42337" numCol="1" anchor="t" anchorCtr="0" compatLnSpc="1">
            <a:prstTxWarp prst="textNoShape">
              <a:avLst/>
            </a:prstTxWarp>
          </a:bodyPr>
          <a:lstStyle>
            <a:lvl1pPr eaLnBrk="1" hangingPunct="1">
              <a:spcBef>
                <a:spcPct val="50000"/>
              </a:spcBef>
              <a:defRPr>
                <a:solidFill>
                  <a:srgbClr val="981150"/>
                </a:solidFill>
                <a:latin typeface="Century Gothic" panose="020B0502020202020204" pitchFamily="34" charset="0"/>
              </a:defRPr>
            </a:lvl1pPr>
          </a:lstStyle>
          <a:p>
            <a:pPr>
              <a:defRPr/>
            </a:pPr>
            <a:fld id="{96E3EE6F-621D-4197-A01F-051E53BE34A0}" type="slidenum">
              <a:rPr lang="en-US" altLang="fr-FR"/>
              <a:pPr>
                <a:defRPr/>
              </a:pPr>
              <a:t>‹N°›</a:t>
            </a:fld>
            <a:endParaRPr lang="en-US" altLang="fr-FR"/>
          </a:p>
        </p:txBody>
      </p:sp>
    </p:spTree>
    <p:extLst>
      <p:ext uri="{BB962C8B-B14F-4D97-AF65-F5344CB8AC3E}">
        <p14:creationId xmlns:p14="http://schemas.microsoft.com/office/powerpoint/2010/main" val="2707437082"/>
      </p:ext>
    </p:extLst>
  </p:cSld>
  <p:clrMapOvr>
    <a:masterClrMapping/>
  </p:clrMapOvr>
  <p:transition advClick="0" advTm="3000">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84213" y="630238"/>
            <a:ext cx="7991475" cy="1143000"/>
          </a:xfrm>
        </p:spPr>
        <p:txBody>
          <a:bodyPr/>
          <a:lstStyle/>
          <a:p>
            <a:r>
              <a:rPr lang="en-US"/>
              <a:t>Click to edit Master title style</a:t>
            </a:r>
            <a:endParaRPr lang="en-GB"/>
          </a:p>
        </p:txBody>
      </p:sp>
      <p:sp>
        <p:nvSpPr>
          <p:cNvPr id="3" name="Content Placeholder 2"/>
          <p:cNvSpPr>
            <a:spLocks noGrp="1"/>
          </p:cNvSpPr>
          <p:nvPr>
            <p:ph sz="quarter" idx="1"/>
          </p:nvPr>
        </p:nvSpPr>
        <p:spPr>
          <a:xfrm>
            <a:off x="755650" y="1916113"/>
            <a:ext cx="3883025" cy="2084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791075" y="1916113"/>
            <a:ext cx="3884613" cy="2084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755650" y="4152900"/>
            <a:ext cx="3883025" cy="2084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4791075" y="4152900"/>
            <a:ext cx="3884613" cy="2084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solidFill>
                  <a:srgbClr val="981150"/>
                </a:solidFill>
                <a:latin typeface="Century Gothic" pitchFamily="34" charset="0"/>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1514631814"/>
      </p:ext>
    </p:extLst>
  </p:cSld>
  <p:clrMapOvr>
    <a:masterClrMapping/>
  </p:clrMapOvr>
  <p:transition advClick="0" advTm="3000">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Tree>
    <p:extLst>
      <p:ext uri="{BB962C8B-B14F-4D97-AF65-F5344CB8AC3E}">
        <p14:creationId xmlns:p14="http://schemas.microsoft.com/office/powerpoint/2010/main" val="62881211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3" name="Rectangle 2"/>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2326918325"/>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937076988"/>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6" name="Rectangle 5"/>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2621129399"/>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3199716833"/>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626664065"/>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8"/>
          <p:cNvSpPr>
            <a:spLocks noGrp="1" noChangeArrowheads="1"/>
          </p:cNvSpPr>
          <p:nvPr>
            <p:ph type="ftr" sz="quarter" idx="10"/>
          </p:nvPr>
        </p:nvSpPr>
        <p:spPr>
          <a:xfrm>
            <a:off x="1116013" y="6454775"/>
            <a:ext cx="5976937" cy="244475"/>
          </a:xfrm>
          <a:prstGeom prst="rect">
            <a:avLst/>
          </a:prstGeom>
        </p:spPr>
        <p:txBody>
          <a:bodyPr/>
          <a:lstStyle>
            <a:lvl1pPr eaLnBrk="1" hangingPunct="1">
              <a:defRPr>
                <a:solidFill>
                  <a:srgbClr val="0077A9"/>
                </a:solidFill>
              </a:defRPr>
            </a:lvl1pPr>
          </a:lstStyle>
          <a:p>
            <a:pPr>
              <a:defRPr/>
            </a:pPr>
            <a:r>
              <a:rPr lang="fr-FR"/>
              <a:t>Document de travail </a:t>
            </a:r>
            <a:r>
              <a:rPr lang="en-GB"/>
              <a:t>:</a:t>
            </a:r>
            <a:r>
              <a:rPr lang="fr-FR"/>
              <a:t>Pacte national pour la performance industrielle –MIE/PME</a:t>
            </a:r>
            <a:r>
              <a:rPr lang="en-US"/>
              <a:t> – All Rights Reserved – Ernst &amp; Young 2009</a:t>
            </a:r>
          </a:p>
          <a:p>
            <a:pPr>
              <a:defRPr/>
            </a:pPr>
            <a:endParaRPr lang="en-GB"/>
          </a:p>
        </p:txBody>
      </p:sp>
    </p:spTree>
    <p:extLst>
      <p:ext uri="{BB962C8B-B14F-4D97-AF65-F5344CB8AC3E}">
        <p14:creationId xmlns:p14="http://schemas.microsoft.com/office/powerpoint/2010/main" val="3936715861"/>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173821979"/>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735235427"/>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338070515"/>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01303755"/>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366466831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865397948"/>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249153997"/>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1027720428"/>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90624276"/>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7838"/>
          </a:xfrm>
          <a:prstGeom prst="rect">
            <a:avLst/>
          </a:prstGeom>
        </p:spPr>
        <p:txBody>
          <a:bodyPr lIns="68882" tIns="34441" rIns="68882" bIns="34441"/>
          <a:lstStyle>
            <a:lvl1pPr eaLnBrk="1" fontAlgn="auto" hangingPunct="1">
              <a:spcBef>
                <a:spcPts val="0"/>
              </a:spcBef>
              <a:spcAft>
                <a:spcPts val="0"/>
              </a:spcAft>
              <a:defRPr>
                <a:solidFill>
                  <a:srgbClr val="981150"/>
                </a:solidFill>
                <a:latin typeface="Calibri"/>
                <a:cs typeface="+mn-cs"/>
              </a:defRPr>
            </a:lvl1pPr>
          </a:lstStyle>
          <a:p>
            <a:pPr>
              <a:defRPr/>
            </a:pPr>
            <a:endParaRPr lang="fr-FR"/>
          </a:p>
        </p:txBody>
      </p:sp>
      <p:sp>
        <p:nvSpPr>
          <p:cNvPr id="3" name="Rectangle 5"/>
          <p:cNvSpPr>
            <a:spLocks noGrp="1" noChangeArrowheads="1"/>
          </p:cNvSpPr>
          <p:nvPr>
            <p:ph type="ftr" sz="quarter" idx="11"/>
          </p:nvPr>
        </p:nvSpPr>
        <p:spPr>
          <a:xfrm>
            <a:off x="3124200" y="6245225"/>
            <a:ext cx="2895600" cy="477838"/>
          </a:xfrm>
          <a:prstGeom prst="rect">
            <a:avLst/>
          </a:prstGeom>
        </p:spPr>
        <p:txBody>
          <a:bodyPr lIns="68882" tIns="34441" rIns="68882" bIns="34441"/>
          <a:lstStyle>
            <a:lvl1pPr eaLnBrk="1" fontAlgn="auto" hangingPunct="1">
              <a:spcBef>
                <a:spcPts val="0"/>
              </a:spcBef>
              <a:spcAft>
                <a:spcPts val="0"/>
              </a:spcAft>
              <a:defRPr>
                <a:solidFill>
                  <a:srgbClr val="981150"/>
                </a:solidFill>
                <a:latin typeface="Calibri"/>
                <a:cs typeface="+mn-cs"/>
              </a:defRPr>
            </a:lvl1pPr>
          </a:lstStyle>
          <a:p>
            <a:pPr>
              <a:defRPr/>
            </a:pPr>
            <a:endParaRPr lang="fr-FR"/>
          </a:p>
        </p:txBody>
      </p:sp>
      <p:sp>
        <p:nvSpPr>
          <p:cNvPr id="4" name="Rectangle 6"/>
          <p:cNvSpPr>
            <a:spLocks noGrp="1" noChangeArrowheads="1"/>
          </p:cNvSpPr>
          <p:nvPr>
            <p:ph type="sldNum" sz="quarter" idx="12"/>
          </p:nvPr>
        </p:nvSpPr>
        <p:spPr>
          <a:xfrm>
            <a:off x="6732588" y="6092825"/>
            <a:ext cx="2133600" cy="479425"/>
          </a:xfrm>
          <a:prstGeom prst="rect">
            <a:avLst/>
          </a:prstGeom>
        </p:spPr>
        <p:txBody>
          <a:bodyPr vert="horz" wrap="square" lIns="68882" tIns="34441" rIns="68882" bIns="34441" numCol="1" anchor="t" anchorCtr="0" compatLnSpc="1">
            <a:prstTxWarp prst="textNoShape">
              <a:avLst/>
            </a:prstTxWarp>
          </a:bodyPr>
          <a:lstStyle>
            <a:lvl1pPr eaLnBrk="1" hangingPunct="1">
              <a:defRPr>
                <a:solidFill>
                  <a:srgbClr val="981150"/>
                </a:solidFill>
                <a:latin typeface="Calibri" panose="020F0502020204030204" pitchFamily="34" charset="0"/>
              </a:defRPr>
            </a:lvl1pPr>
          </a:lstStyle>
          <a:p>
            <a:pPr>
              <a:defRPr/>
            </a:pPr>
            <a:fld id="{08E26A28-BDE7-4FE2-AAF8-B2D532BAE18F}" type="slidenum">
              <a:rPr lang="fr-FR" altLang="fr-FR"/>
              <a:pPr>
                <a:defRPr/>
              </a:pPr>
              <a:t>‹N°›</a:t>
            </a:fld>
            <a:endParaRPr lang="fr-FR" altLang="fr-FR"/>
          </a:p>
        </p:txBody>
      </p:sp>
    </p:spTree>
    <p:extLst>
      <p:ext uri="{BB962C8B-B14F-4D97-AF65-F5344CB8AC3E}">
        <p14:creationId xmlns:p14="http://schemas.microsoft.com/office/powerpoint/2010/main" val="2706809888"/>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re_2">
    <p:spTree>
      <p:nvGrpSpPr>
        <p:cNvPr id="1" name=""/>
        <p:cNvGrpSpPr/>
        <p:nvPr/>
      </p:nvGrpSpPr>
      <p:grpSpPr>
        <a:xfrm>
          <a:off x="0" y="0"/>
          <a:ext cx="0" cy="0"/>
          <a:chOff x="0" y="0"/>
          <a:chExt cx="0" cy="0"/>
        </a:xfrm>
      </p:grpSpPr>
      <p:sp>
        <p:nvSpPr>
          <p:cNvPr id="2" name="Titre 1"/>
          <p:cNvSpPr>
            <a:spLocks noGrp="1"/>
          </p:cNvSpPr>
          <p:nvPr>
            <p:ph type="ctrTitle"/>
          </p:nvPr>
        </p:nvSpPr>
        <p:spPr>
          <a:xfrm>
            <a:off x="0" y="3429000"/>
            <a:ext cx="7772400" cy="2160240"/>
          </a:xfrm>
        </p:spPr>
        <p:txBody>
          <a:bodyPr/>
          <a:lstStyle>
            <a:lvl1pPr>
              <a:defRPr/>
            </a:lvl1pPr>
          </a:lstStyle>
          <a:p>
            <a:r>
              <a:rPr lang="fr-FR" smtClean="0"/>
              <a:t>Modifiez le style du titre</a:t>
            </a:r>
            <a:endParaRPr lang="fr-FR" dirty="0"/>
          </a:p>
        </p:txBody>
      </p:sp>
    </p:spTree>
    <p:extLst>
      <p:ext uri="{BB962C8B-B14F-4D97-AF65-F5344CB8AC3E}">
        <p14:creationId xmlns:p14="http://schemas.microsoft.com/office/powerpoint/2010/main" val="2936277344"/>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lvl1pPr eaLnBrk="1" fontAlgn="auto" hangingPunct="1">
              <a:spcBef>
                <a:spcPts val="0"/>
              </a:spcBef>
              <a:spcAft>
                <a:spcPts val="0"/>
              </a:spcAft>
              <a:defRPr>
                <a:solidFill>
                  <a:srgbClr val="981150"/>
                </a:solidFill>
                <a:latin typeface="Calibri"/>
                <a:cs typeface="+mn-cs"/>
              </a:defRPr>
            </a:lvl1pPr>
          </a:lstStyle>
          <a:p>
            <a:pPr>
              <a:defRPr/>
            </a:pPr>
            <a:fld id="{C5C15EC8-3F54-457C-B9A3-152F7BEB4470}" type="datetimeFigureOut">
              <a:rPr lang="fr-FR"/>
              <a:pPr>
                <a:defRPr/>
              </a:pPr>
              <a:t>27/09/2018</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solidFill>
                  <a:srgbClr val="981150"/>
                </a:solidFill>
                <a:latin typeface="Calibri"/>
                <a:cs typeface="+mn-cs"/>
              </a:defRPr>
            </a:lvl1pPr>
          </a:lstStyle>
          <a:p>
            <a:pPr>
              <a:defRPr/>
            </a:pPr>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981150"/>
                </a:solidFill>
                <a:latin typeface="Calibri" panose="020F0502020204030204" pitchFamily="34" charset="0"/>
              </a:defRPr>
            </a:lvl1pPr>
          </a:lstStyle>
          <a:p>
            <a:pPr>
              <a:defRPr/>
            </a:pPr>
            <a:fld id="{25D0B7A1-63C7-48CC-B5FB-45A13C1A0202}" type="slidenum">
              <a:rPr lang="fr-FR" altLang="fr-FR"/>
              <a:pPr>
                <a:defRPr/>
              </a:pPr>
              <a:t>‹N°›</a:t>
            </a:fld>
            <a:endParaRPr lang="fr-FR" altLang="fr-FR"/>
          </a:p>
        </p:txBody>
      </p:sp>
    </p:spTree>
    <p:extLst>
      <p:ext uri="{BB962C8B-B14F-4D97-AF65-F5344CB8AC3E}">
        <p14:creationId xmlns:p14="http://schemas.microsoft.com/office/powerpoint/2010/main" val="160209598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174892484"/>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713421977"/>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749118056"/>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379179776"/>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703332463"/>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5" name="Rectangle 4"/>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737688790"/>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953665823"/>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1960397008"/>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45350408"/>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7838"/>
          </a:xfrm>
          <a:prstGeom prst="rect">
            <a:avLst/>
          </a:prstGeom>
        </p:spPr>
        <p:txBody>
          <a:bodyPr lIns="68882" tIns="34441" rIns="68882" bIns="34441"/>
          <a:lstStyle>
            <a:lvl1pPr eaLnBrk="1" fontAlgn="auto" hangingPunct="1">
              <a:spcBef>
                <a:spcPts val="0"/>
              </a:spcBef>
              <a:spcAft>
                <a:spcPts val="0"/>
              </a:spcAft>
              <a:defRPr>
                <a:solidFill>
                  <a:srgbClr val="981150"/>
                </a:solidFill>
                <a:latin typeface="Calibri"/>
                <a:cs typeface="+mn-cs"/>
              </a:defRPr>
            </a:lvl1pPr>
          </a:lstStyle>
          <a:p>
            <a:pPr>
              <a:defRPr/>
            </a:pPr>
            <a:endParaRPr lang="fr-FR"/>
          </a:p>
        </p:txBody>
      </p:sp>
      <p:sp>
        <p:nvSpPr>
          <p:cNvPr id="3" name="Rectangle 5"/>
          <p:cNvSpPr>
            <a:spLocks noGrp="1" noChangeArrowheads="1"/>
          </p:cNvSpPr>
          <p:nvPr>
            <p:ph type="ftr" sz="quarter" idx="11"/>
          </p:nvPr>
        </p:nvSpPr>
        <p:spPr>
          <a:xfrm>
            <a:off x="3124200" y="6245225"/>
            <a:ext cx="2895600" cy="477838"/>
          </a:xfrm>
          <a:prstGeom prst="rect">
            <a:avLst/>
          </a:prstGeom>
        </p:spPr>
        <p:txBody>
          <a:bodyPr lIns="68882" tIns="34441" rIns="68882" bIns="34441"/>
          <a:lstStyle>
            <a:lvl1pPr eaLnBrk="1" fontAlgn="auto" hangingPunct="1">
              <a:spcBef>
                <a:spcPts val="0"/>
              </a:spcBef>
              <a:spcAft>
                <a:spcPts val="0"/>
              </a:spcAft>
              <a:defRPr>
                <a:solidFill>
                  <a:srgbClr val="981150"/>
                </a:solidFill>
                <a:latin typeface="Calibri"/>
                <a:cs typeface="+mn-cs"/>
              </a:defRPr>
            </a:lvl1pPr>
          </a:lstStyle>
          <a:p>
            <a:pPr>
              <a:defRPr/>
            </a:pPr>
            <a:endParaRPr lang="fr-FR"/>
          </a:p>
        </p:txBody>
      </p:sp>
      <p:sp>
        <p:nvSpPr>
          <p:cNvPr id="4" name="Rectangle 6"/>
          <p:cNvSpPr>
            <a:spLocks noGrp="1" noChangeArrowheads="1"/>
          </p:cNvSpPr>
          <p:nvPr>
            <p:ph type="sldNum" sz="quarter" idx="12"/>
          </p:nvPr>
        </p:nvSpPr>
        <p:spPr>
          <a:xfrm>
            <a:off x="6732588" y="6092825"/>
            <a:ext cx="2133600" cy="479425"/>
          </a:xfrm>
          <a:prstGeom prst="rect">
            <a:avLst/>
          </a:prstGeom>
        </p:spPr>
        <p:txBody>
          <a:bodyPr vert="horz" wrap="square" lIns="68882" tIns="34441" rIns="68882" bIns="34441" numCol="1" anchor="t" anchorCtr="0" compatLnSpc="1">
            <a:prstTxWarp prst="textNoShape">
              <a:avLst/>
            </a:prstTxWarp>
          </a:bodyPr>
          <a:lstStyle>
            <a:lvl1pPr eaLnBrk="1" hangingPunct="1">
              <a:defRPr>
                <a:solidFill>
                  <a:srgbClr val="981150"/>
                </a:solidFill>
                <a:latin typeface="Calibri" panose="020F0502020204030204" pitchFamily="34" charset="0"/>
              </a:defRPr>
            </a:lvl1pPr>
          </a:lstStyle>
          <a:p>
            <a:pPr>
              <a:defRPr/>
            </a:pPr>
            <a:fld id="{B1A95C3C-1766-46A6-95D2-793346B8317A}" type="slidenum">
              <a:rPr lang="fr-FR" altLang="fr-FR"/>
              <a:pPr>
                <a:defRPr/>
              </a:pPr>
              <a:t>‹N°›</a:t>
            </a:fld>
            <a:endParaRPr lang="fr-FR" altLang="fr-FR"/>
          </a:p>
        </p:txBody>
      </p:sp>
    </p:spTree>
    <p:extLst>
      <p:ext uri="{BB962C8B-B14F-4D97-AF65-F5344CB8AC3E}">
        <p14:creationId xmlns:p14="http://schemas.microsoft.com/office/powerpoint/2010/main" val="3352209329"/>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re_2">
    <p:spTree>
      <p:nvGrpSpPr>
        <p:cNvPr id="1" name=""/>
        <p:cNvGrpSpPr/>
        <p:nvPr/>
      </p:nvGrpSpPr>
      <p:grpSpPr>
        <a:xfrm>
          <a:off x="0" y="0"/>
          <a:ext cx="0" cy="0"/>
          <a:chOff x="0" y="0"/>
          <a:chExt cx="0" cy="0"/>
        </a:xfrm>
      </p:grpSpPr>
      <p:sp>
        <p:nvSpPr>
          <p:cNvPr id="2" name="Titre 1"/>
          <p:cNvSpPr>
            <a:spLocks noGrp="1"/>
          </p:cNvSpPr>
          <p:nvPr>
            <p:ph type="ctrTitle"/>
          </p:nvPr>
        </p:nvSpPr>
        <p:spPr>
          <a:xfrm>
            <a:off x="0" y="3429000"/>
            <a:ext cx="7772400" cy="2160240"/>
          </a:xfrm>
        </p:spPr>
        <p:txBody>
          <a:bodyPr/>
          <a:lstStyle>
            <a:lvl1pPr>
              <a:defRPr/>
            </a:lvl1pPr>
          </a:lstStyle>
          <a:p>
            <a:r>
              <a:rPr lang="fr-FR" smtClean="0"/>
              <a:t>Modifiez le style du titre</a:t>
            </a:r>
            <a:endParaRPr lang="fr-FR" dirty="0"/>
          </a:p>
        </p:txBody>
      </p:sp>
    </p:spTree>
    <p:extLst>
      <p:ext uri="{BB962C8B-B14F-4D97-AF65-F5344CB8AC3E}">
        <p14:creationId xmlns:p14="http://schemas.microsoft.com/office/powerpoint/2010/main" val="121534366"/>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lvl1pPr eaLnBrk="1" fontAlgn="auto" hangingPunct="1">
              <a:spcBef>
                <a:spcPts val="0"/>
              </a:spcBef>
              <a:spcAft>
                <a:spcPts val="0"/>
              </a:spcAft>
              <a:defRPr>
                <a:solidFill>
                  <a:srgbClr val="981150"/>
                </a:solidFill>
                <a:latin typeface="Calibri"/>
                <a:cs typeface="+mn-cs"/>
              </a:defRPr>
            </a:lvl1pPr>
          </a:lstStyle>
          <a:p>
            <a:pPr>
              <a:defRPr/>
            </a:pPr>
            <a:fld id="{13DDFC4F-40DE-4CB0-A0B7-4B22CCB02038}" type="datetimeFigureOut">
              <a:rPr lang="fr-FR"/>
              <a:pPr>
                <a:defRPr/>
              </a:pPr>
              <a:t>27/09/2018</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solidFill>
                  <a:srgbClr val="981150"/>
                </a:solidFill>
                <a:latin typeface="Calibri"/>
                <a:cs typeface="+mn-cs"/>
              </a:defRPr>
            </a:lvl1pPr>
          </a:lstStyle>
          <a:p>
            <a:pPr>
              <a:defRPr/>
            </a:pPr>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981150"/>
                </a:solidFill>
                <a:latin typeface="Calibri" panose="020F0502020204030204" pitchFamily="34" charset="0"/>
              </a:defRPr>
            </a:lvl1pPr>
          </a:lstStyle>
          <a:p>
            <a:pPr>
              <a:defRPr/>
            </a:pPr>
            <a:fld id="{136FF051-42D0-4158-AAB8-E4AFFA9630A2}" type="slidenum">
              <a:rPr lang="fr-FR" altLang="fr-FR"/>
              <a:pPr>
                <a:defRPr/>
              </a:pPr>
              <a:t>‹N°›</a:t>
            </a:fld>
            <a:endParaRPr lang="fr-FR" altLang="fr-FR"/>
          </a:p>
        </p:txBody>
      </p:sp>
    </p:spTree>
    <p:extLst>
      <p:ext uri="{BB962C8B-B14F-4D97-AF65-F5344CB8AC3E}">
        <p14:creationId xmlns:p14="http://schemas.microsoft.com/office/powerpoint/2010/main" val="513429081"/>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605748721"/>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76345958"/>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788507209"/>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21270741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7" name="Rectangle 6"/>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262880214"/>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3320646589"/>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416802921"/>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761721109"/>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070103503"/>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551988786"/>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919149103"/>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650144494"/>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796914534"/>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1041860397"/>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330394372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3" name="Rectangle 2"/>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2339723863"/>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2448425763"/>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231970523"/>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369053854"/>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25064511"/>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5" name="Rectangle 4"/>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404700196"/>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7" name="Rectangle 6"/>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696087954"/>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3" name="Rectangle 2"/>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3850917023"/>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6" name="Rectangle 5"/>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822822455"/>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4086353620"/>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92183617"/>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6" name="Rectangle 5"/>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1354672329"/>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055667382"/>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137518638"/>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400880094"/>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825862539"/>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2042591739"/>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906990171"/>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4154368598"/>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444476234"/>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re_2">
    <p:spTree>
      <p:nvGrpSpPr>
        <p:cNvPr id="1" name=""/>
        <p:cNvGrpSpPr/>
        <p:nvPr/>
      </p:nvGrpSpPr>
      <p:grpSpPr>
        <a:xfrm>
          <a:off x="0" y="0"/>
          <a:ext cx="0" cy="0"/>
          <a:chOff x="0" y="0"/>
          <a:chExt cx="0" cy="0"/>
        </a:xfrm>
      </p:grpSpPr>
      <p:sp>
        <p:nvSpPr>
          <p:cNvPr id="2" name="Titre 1"/>
          <p:cNvSpPr>
            <a:spLocks noGrp="1"/>
          </p:cNvSpPr>
          <p:nvPr>
            <p:ph type="ctrTitle"/>
          </p:nvPr>
        </p:nvSpPr>
        <p:spPr>
          <a:xfrm>
            <a:off x="0" y="3429000"/>
            <a:ext cx="7772400" cy="2160240"/>
          </a:xfrm>
        </p:spPr>
        <p:txBody>
          <a:bodyPr/>
          <a:lstStyle>
            <a:lvl1pPr>
              <a:defRPr/>
            </a:lvl1pPr>
          </a:lstStyle>
          <a:p>
            <a:r>
              <a:rPr lang="fr-FR" smtClean="0"/>
              <a:t>Modifiez le style du titre</a:t>
            </a:r>
            <a:endParaRPr lang="fr-FR" dirty="0"/>
          </a:p>
        </p:txBody>
      </p:sp>
    </p:spTree>
    <p:extLst>
      <p:ext uri="{BB962C8B-B14F-4D97-AF65-F5344CB8AC3E}">
        <p14:creationId xmlns:p14="http://schemas.microsoft.com/office/powerpoint/2010/main" val="2786927691"/>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lvl1pPr eaLnBrk="1" fontAlgn="auto" hangingPunct="1">
              <a:spcBef>
                <a:spcPts val="0"/>
              </a:spcBef>
              <a:spcAft>
                <a:spcPts val="0"/>
              </a:spcAft>
              <a:defRPr>
                <a:solidFill>
                  <a:srgbClr val="981150"/>
                </a:solidFill>
                <a:latin typeface="Calibri"/>
              </a:defRPr>
            </a:lvl1pPr>
          </a:lstStyle>
          <a:p>
            <a:pPr>
              <a:defRPr/>
            </a:pPr>
            <a:fld id="{71BBFC43-41B2-4090-991D-9558BE5BF22D}" type="datetimeFigureOut">
              <a:rPr lang="fr-FR"/>
              <a:pPr>
                <a:defRPr/>
              </a:pPr>
              <a:t>27/09/2018</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solidFill>
                  <a:srgbClr val="981150"/>
                </a:solidFill>
                <a:latin typeface="Calibri"/>
              </a:defRPr>
            </a:lvl1pPr>
          </a:lstStyle>
          <a:p>
            <a:pPr>
              <a:defRPr/>
            </a:pPr>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981150"/>
                </a:solidFill>
                <a:latin typeface="Calibri" panose="020F0502020204030204" pitchFamily="34" charset="0"/>
              </a:defRPr>
            </a:lvl1pPr>
          </a:lstStyle>
          <a:p>
            <a:pPr>
              <a:defRPr/>
            </a:pPr>
            <a:fld id="{68C60827-E403-4103-8909-40C22F20C60E}" type="slidenum">
              <a:rPr lang="fr-FR" altLang="fr-FR"/>
              <a:pPr>
                <a:defRPr/>
              </a:pPr>
              <a:t>‹N°›</a:t>
            </a:fld>
            <a:endParaRPr lang="fr-FR" altLang="fr-FR"/>
          </a:p>
        </p:txBody>
      </p:sp>
    </p:spTree>
    <p:extLst>
      <p:ext uri="{BB962C8B-B14F-4D97-AF65-F5344CB8AC3E}">
        <p14:creationId xmlns:p14="http://schemas.microsoft.com/office/powerpoint/2010/main" val="1126080588"/>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2375961015"/>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84213" y="630238"/>
            <a:ext cx="7991475" cy="1143000"/>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755650" y="1916113"/>
            <a:ext cx="3883025" cy="20843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791075" y="1916113"/>
            <a:ext cx="3884613" cy="20843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755650" y="4152900"/>
            <a:ext cx="3883025" cy="20843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791075" y="4152900"/>
            <a:ext cx="3884613" cy="20843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6"/>
          <p:cNvSpPr>
            <a:spLocks noGrp="1" noChangeArrowheads="1"/>
          </p:cNvSpPr>
          <p:nvPr>
            <p:ph type="dt" sz="half" idx="10"/>
          </p:nvPr>
        </p:nvSpPr>
        <p:spPr>
          <a:xfrm>
            <a:off x="252413" y="6381750"/>
            <a:ext cx="8567737" cy="215900"/>
          </a:xfrm>
          <a:prstGeom prst="rect">
            <a:avLst/>
          </a:prstGeom>
        </p:spPr>
        <p:txBody>
          <a:bodyPr/>
          <a:lstStyle>
            <a:lvl1pPr eaLnBrk="1" hangingPunct="1">
              <a:defRPr/>
            </a:lvl1pPr>
          </a:lstStyle>
          <a:p>
            <a:pPr>
              <a:defRPr/>
            </a:pPr>
            <a:r>
              <a:rPr lang="en-US"/>
              <a:t>Friday 26</a:t>
            </a:r>
            <a:r>
              <a:rPr lang="en-US" baseline="30000"/>
              <a:t>th</a:t>
            </a:r>
            <a:r>
              <a:rPr lang="en-US"/>
              <a:t> March 2010 	                                      bbsoltane@fipa.co.uk                                     www.investintunisia.tn         </a:t>
            </a:r>
          </a:p>
        </p:txBody>
      </p:sp>
    </p:spTree>
    <p:extLst>
      <p:ext uri="{BB962C8B-B14F-4D97-AF65-F5344CB8AC3E}">
        <p14:creationId xmlns:p14="http://schemas.microsoft.com/office/powerpoint/2010/main" val="3851622821"/>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68543959"/>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535467184"/>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082460843"/>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740639458"/>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3160272605"/>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fr-FR" altLang="fr-FR" sz="3200" smtClean="0">
                <a:solidFill>
                  <a:srgbClr val="FFFFFF"/>
                </a:solidFill>
                <a:latin typeface="Calibri" panose="020F0502020204030204" pitchFamily="34" charset="0"/>
              </a:rPr>
              <a:t>Cliquez pour modifier le style du titre</a:t>
            </a: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3042819295"/>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3152990704"/>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033675504"/>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Intérieur_1">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baseline="0"/>
            </a:lvl1p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83702623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11133011"/>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Intérieur_2">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070943576"/>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Intérieur_3">
    <p:spTree>
      <p:nvGrpSpPr>
        <p:cNvPr id="1" name=""/>
        <p:cNvGrpSpPr/>
        <p:nvPr/>
      </p:nvGrpSpPr>
      <p:grpSpPr>
        <a:xfrm>
          <a:off x="0" y="0"/>
          <a:ext cx="0" cy="0"/>
          <a:chOff x="0" y="0"/>
          <a:chExt cx="0" cy="0"/>
        </a:xfrm>
      </p:grpSpPr>
      <p:sp>
        <p:nvSpPr>
          <p:cNvPr id="5" name="Rectangle 4"/>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251520" y="1268760"/>
            <a:ext cx="4248472"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268760"/>
            <a:ext cx="4320480" cy="482453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2083586175"/>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Intérieur_4">
    <p:spTree>
      <p:nvGrpSpPr>
        <p:cNvPr id="1" name=""/>
        <p:cNvGrpSpPr/>
        <p:nvPr/>
      </p:nvGrpSpPr>
      <p:grpSpPr>
        <a:xfrm>
          <a:off x="0" y="0"/>
          <a:ext cx="0" cy="0"/>
          <a:chOff x="0" y="0"/>
          <a:chExt cx="0" cy="0"/>
        </a:xfrm>
      </p:grpSpPr>
      <p:sp>
        <p:nvSpPr>
          <p:cNvPr id="7" name="Rectangle 6"/>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340768"/>
            <a:ext cx="4040188"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340768"/>
            <a:ext cx="4041775" cy="83410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553810501"/>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Intérieur_5">
    <p:spTree>
      <p:nvGrpSpPr>
        <p:cNvPr id="1" name=""/>
        <p:cNvGrpSpPr/>
        <p:nvPr/>
      </p:nvGrpSpPr>
      <p:grpSpPr>
        <a:xfrm>
          <a:off x="0" y="0"/>
          <a:ext cx="0" cy="0"/>
          <a:chOff x="0" y="0"/>
          <a:chExt cx="0" cy="0"/>
        </a:xfrm>
      </p:grpSpPr>
      <p:sp>
        <p:nvSpPr>
          <p:cNvPr id="3" name="Rectangle 2"/>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p:txBody>
          <a:bodyPr/>
          <a:lstStyle/>
          <a:p>
            <a:r>
              <a:rPr lang="fr-FR" smtClean="0"/>
              <a:t>Cliquez pour modifier le style du titre</a:t>
            </a:r>
            <a:endParaRPr lang="fr-FR"/>
          </a:p>
        </p:txBody>
      </p:sp>
    </p:spTree>
    <p:extLst>
      <p:ext uri="{BB962C8B-B14F-4D97-AF65-F5344CB8AC3E}">
        <p14:creationId xmlns:p14="http://schemas.microsoft.com/office/powerpoint/2010/main" val="1243437914"/>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Intérieur_6">
    <p:spTree>
      <p:nvGrpSpPr>
        <p:cNvPr id="1" name=""/>
        <p:cNvGrpSpPr/>
        <p:nvPr/>
      </p:nvGrpSpPr>
      <p:grpSpPr>
        <a:xfrm>
          <a:off x="0" y="0"/>
          <a:ext cx="0" cy="0"/>
          <a:chOff x="0" y="0"/>
          <a:chExt cx="0" cy="0"/>
        </a:xfrm>
      </p:grpSpPr>
      <p:sp>
        <p:nvSpPr>
          <p:cNvPr id="5" name="Titre 1"/>
          <p:cNvSpPr txBox="1">
            <a:spLocks/>
          </p:cNvSpPr>
          <p:nvPr userDrawn="1"/>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fr-FR" sz="3200" smtClean="0">
                <a:solidFill>
                  <a:srgbClr val="FFFFFF"/>
                </a:solidFill>
                <a:latin typeface="Calibri" pitchFamily="34" charset="0"/>
              </a:rPr>
              <a:t>Cliquez pour modifier le style du titre</a:t>
            </a:r>
          </a:p>
        </p:txBody>
      </p:sp>
      <p:sp>
        <p:nvSpPr>
          <p:cNvPr id="6" name="Rectangle 5"/>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2" name="Titre 1"/>
          <p:cNvSpPr>
            <a:spLocks noGrp="1"/>
          </p:cNvSpPr>
          <p:nvPr>
            <p:ph type="title"/>
          </p:nvPr>
        </p:nvSpPr>
        <p:spPr>
          <a:xfrm>
            <a:off x="467544" y="1196752"/>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196752"/>
            <a:ext cx="5111750" cy="492941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2564904"/>
            <a:ext cx="3008313" cy="356125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Tree>
    <p:extLst>
      <p:ext uri="{BB962C8B-B14F-4D97-AF65-F5344CB8AC3E}">
        <p14:creationId xmlns:p14="http://schemas.microsoft.com/office/powerpoint/2010/main" val="2894847652"/>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térieur_7">
    <p:spTree>
      <p:nvGrpSpPr>
        <p:cNvPr id="1" name=""/>
        <p:cNvGrpSpPr/>
        <p:nvPr/>
      </p:nvGrpSpPr>
      <p:grpSpPr>
        <a:xfrm>
          <a:off x="0" y="0"/>
          <a:ext cx="0" cy="0"/>
          <a:chOff x="0" y="0"/>
          <a:chExt cx="0" cy="0"/>
        </a:xfrm>
      </p:grpSpPr>
      <p:sp>
        <p:nvSpPr>
          <p:cNvPr id="4" name="Rectangle 3"/>
          <p:cNvSpPr/>
          <p:nvPr userDrawn="1"/>
        </p:nvSpPr>
        <p:spPr>
          <a:xfrm>
            <a:off x="107950" y="6021388"/>
            <a:ext cx="719138" cy="8032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19C05"/>
              </a:solidFill>
            </a:endParaRPr>
          </a:p>
        </p:txBody>
      </p:sp>
      <p:sp>
        <p:nvSpPr>
          <p:cNvPr id="3" name="Espace réservé pour une image  2"/>
          <p:cNvSpPr>
            <a:spLocks noGrp="1"/>
          </p:cNvSpPr>
          <p:nvPr>
            <p:ph type="pic" idx="1"/>
          </p:nvPr>
        </p:nvSpPr>
        <p:spPr>
          <a:xfrm>
            <a:off x="1835696" y="1556792"/>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8" name="Titre 1"/>
          <p:cNvSpPr>
            <a:spLocks noGrp="1"/>
          </p:cNvSpPr>
          <p:nvPr>
            <p:ph type="title"/>
          </p:nvPr>
        </p:nvSpPr>
        <p:spPr>
          <a:xfrm>
            <a:off x="0" y="0"/>
            <a:ext cx="5868144" cy="1052736"/>
          </a:xfrm>
        </p:spPr>
        <p:txBody>
          <a:bodyPr/>
          <a:lstStyle/>
          <a:p>
            <a:r>
              <a:rPr lang="fr-FR" dirty="0" smtClean="0"/>
              <a:t>Cliquez pour modifier le style du titre</a:t>
            </a:r>
            <a:endParaRPr lang="fr-FR" dirty="0"/>
          </a:p>
        </p:txBody>
      </p:sp>
    </p:spTree>
    <p:extLst>
      <p:ext uri="{BB962C8B-B14F-4D97-AF65-F5344CB8AC3E}">
        <p14:creationId xmlns:p14="http://schemas.microsoft.com/office/powerpoint/2010/main" val="1461191323"/>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Intérieur_8">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fr-FR" dirty="0"/>
          </a:p>
        </p:txBody>
      </p:sp>
      <p:sp>
        <p:nvSpPr>
          <p:cNvPr id="3" name="Espace réservé du texte vertical 2"/>
          <p:cNvSpPr>
            <a:spLocks noGrp="1"/>
          </p:cNvSpPr>
          <p:nvPr>
            <p:ph type="body" orient="vert"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317332370"/>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1_Diapositive de titre">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70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027988" y="11113"/>
            <a:ext cx="973137"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0" y="1714500"/>
            <a:ext cx="9144000" cy="107950"/>
          </a:xfrm>
          <a:prstGeom prst="rect">
            <a:avLst/>
          </a:prstGeom>
          <a:solidFill>
            <a:srgbClr val="E51B2E"/>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FFFFFF"/>
              </a:solidFill>
            </a:endParaRPr>
          </a:p>
        </p:txBody>
      </p:sp>
      <p:sp>
        <p:nvSpPr>
          <p:cNvPr id="7" name="Rectangle 9"/>
          <p:cNvSpPr>
            <a:spLocks noChangeArrowheads="1"/>
          </p:cNvSpPr>
          <p:nvPr/>
        </p:nvSpPr>
        <p:spPr bwMode="auto">
          <a:xfrm>
            <a:off x="3500438" y="428625"/>
            <a:ext cx="4572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r>
              <a:rPr lang="ar-TN" altLang="fr-FR" b="1" smtClean="0">
                <a:solidFill>
                  <a:srgbClr val="000000"/>
                </a:solidFill>
                <a:latin typeface="Century Gothic" panose="020B0502020202020204" pitchFamily="34" charset="0"/>
                <a:cs typeface="Simplified Arabic" panose="02020603050405020304" pitchFamily="18" charset="-78"/>
              </a:rPr>
              <a:t>الجمهورية التونسية</a:t>
            </a:r>
            <a:br>
              <a:rPr lang="ar-TN" altLang="fr-FR" b="1" smtClean="0">
                <a:solidFill>
                  <a:srgbClr val="000000"/>
                </a:solidFill>
                <a:latin typeface="Century Gothic" panose="020B0502020202020204" pitchFamily="34" charset="0"/>
                <a:cs typeface="Simplified Arabic" panose="02020603050405020304" pitchFamily="18" charset="-78"/>
              </a:rPr>
            </a:br>
            <a:r>
              <a:rPr lang="ar-TN" altLang="fr-FR" b="1" smtClean="0">
                <a:solidFill>
                  <a:srgbClr val="000000"/>
                </a:solidFill>
                <a:latin typeface="Century Gothic" panose="020B0502020202020204" pitchFamily="34" charset="0"/>
                <a:cs typeface="Simplified Arabic" panose="02020603050405020304" pitchFamily="18" charset="-78"/>
              </a:rPr>
              <a:t>وزارة التنمية والاستثمار والتعاون الدولي</a:t>
            </a:r>
            <a:endParaRPr lang="fr-FR" altLang="fr-FR" b="1" smtClean="0">
              <a:solidFill>
                <a:srgbClr val="000000"/>
              </a:solidFill>
              <a:latin typeface="Century Gothic" panose="020B0502020202020204" pitchFamily="34" charset="0"/>
              <a:cs typeface="Simplified Arabic" panose="02020603050405020304" pitchFamily="18" charset="-78"/>
            </a:endParaRPr>
          </a:p>
        </p:txBody>
      </p:sp>
      <p:sp>
        <p:nvSpPr>
          <p:cNvPr id="3" name="Sous-titre 2"/>
          <p:cNvSpPr>
            <a:spLocks noGrp="1"/>
          </p:cNvSpPr>
          <p:nvPr>
            <p:ph type="subTitle" idx="1"/>
          </p:nvPr>
        </p:nvSpPr>
        <p:spPr>
          <a:xfrm>
            <a:off x="1371600" y="2747970"/>
            <a:ext cx="6400800" cy="1752600"/>
          </a:xfrm>
        </p:spPr>
        <p:txBody>
          <a:bodyPr rtlCol="0">
            <a:normAutofit/>
          </a:bodyPr>
          <a:lstStyle>
            <a:lvl1pPr marL="0" indent="0" algn="ctr" defTabSz="914400" rtl="1" eaLnBrk="1" latinLnBrk="0" hangingPunct="1">
              <a:spcBef>
                <a:spcPct val="20000"/>
              </a:spcBef>
              <a:buFont typeface="Arial" pitchFamily="34" charset="0"/>
              <a:buNone/>
              <a:defRPr lang="fr-BE" sz="3200" b="1" kern="1200" dirty="0">
                <a:solidFill>
                  <a:srgbClr val="FF0000"/>
                </a:solidFill>
                <a:latin typeface="Century Gothic"/>
                <a:ea typeface="+mn-ea"/>
                <a:cs typeface="Century Gothic"/>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BE" dirty="0"/>
          </a:p>
        </p:txBody>
      </p:sp>
      <p:sp>
        <p:nvSpPr>
          <p:cNvPr id="8" name="Espace réservé de la date 3"/>
          <p:cNvSpPr>
            <a:spLocks noGrp="1"/>
          </p:cNvSpPr>
          <p:nvPr>
            <p:ph type="dt" sz="half" idx="10"/>
          </p:nvPr>
        </p:nvSpPr>
        <p:spPr>
          <a:xfrm>
            <a:off x="3503613" y="5483225"/>
            <a:ext cx="2133600" cy="400050"/>
          </a:xfrm>
        </p:spPr>
        <p:txBody>
          <a:bodyPr wrap="square">
            <a:spAutoFit/>
          </a:bodyPr>
          <a:lstStyle>
            <a:lvl1pPr marL="0" algn="ctr" defTabSz="914400" rtl="1" eaLnBrk="1" latinLnBrk="0" hangingPunct="1">
              <a:defRPr lang="fr-BE" sz="2000" b="1" kern="1200">
                <a:solidFill>
                  <a:srgbClr val="000000"/>
                </a:solidFill>
                <a:latin typeface="Century Gothic"/>
                <a:ea typeface="+mn-ea"/>
                <a:cs typeface="Century Gothic"/>
              </a:defRPr>
            </a:lvl1pPr>
          </a:lstStyle>
          <a:p>
            <a:pPr>
              <a:defRPr/>
            </a:pPr>
            <a:fld id="{ECC6C1D6-E8F5-4FCC-AE0C-8B5DD62A4C5D}" type="datetimeFigureOut">
              <a:rPr lang="fr-FR"/>
              <a:pPr>
                <a:defRPr/>
              </a:pPr>
              <a:t>27/09/2018</a:t>
            </a:fld>
            <a:endParaRPr lang="fr-FR"/>
          </a:p>
        </p:txBody>
      </p:sp>
    </p:spTree>
    <p:extLst>
      <p:ext uri="{BB962C8B-B14F-4D97-AF65-F5344CB8AC3E}">
        <p14:creationId xmlns:p14="http://schemas.microsoft.com/office/powerpoint/2010/main" val="26922075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cSld name="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33326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28_Title and Content">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24"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Connecteur droit 9"/>
          <p:cNvCxnSpPr/>
          <p:nvPr/>
        </p:nvCxnSpPr>
        <p:spPr>
          <a:xfrm>
            <a:off x="152400" y="538163"/>
            <a:ext cx="813752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 name="Connecteur droit 17"/>
          <p:cNvCxnSpPr/>
          <p:nvPr/>
        </p:nvCxnSpPr>
        <p:spPr>
          <a:xfrm>
            <a:off x="152400" y="6354763"/>
            <a:ext cx="8763000"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Connecteur droit 7"/>
          <p:cNvCxnSpPr/>
          <p:nvPr/>
        </p:nvCxnSpPr>
        <p:spPr>
          <a:xfrm rot="5400000">
            <a:off x="5391150" y="274638"/>
            <a:ext cx="549275" cy="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ZoneTexte 9"/>
          <p:cNvSpPr txBox="1">
            <a:spLocks noChangeArrowheads="1"/>
          </p:cNvSpPr>
          <p:nvPr/>
        </p:nvSpPr>
        <p:spPr bwMode="auto">
          <a:xfrm>
            <a:off x="6215063" y="6400800"/>
            <a:ext cx="2520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implified Arabic" pitchFamily="18" charset="-78"/>
                <a:cs typeface="Simplified Arabic" pitchFamily="18" charset="-78"/>
              </a:defRPr>
            </a:lvl1pPr>
            <a:lvl2pPr marL="742950" indent="-285750">
              <a:defRPr>
                <a:solidFill>
                  <a:schemeClr val="tx1"/>
                </a:solidFill>
                <a:latin typeface="Simplified Arabic" pitchFamily="18" charset="-78"/>
                <a:cs typeface="Simplified Arabic" pitchFamily="18" charset="-78"/>
              </a:defRPr>
            </a:lvl2pPr>
            <a:lvl3pPr marL="1143000" indent="-228600">
              <a:defRPr>
                <a:solidFill>
                  <a:schemeClr val="tx1"/>
                </a:solidFill>
                <a:latin typeface="Simplified Arabic" pitchFamily="18" charset="-78"/>
                <a:cs typeface="Simplified Arabic" pitchFamily="18" charset="-78"/>
              </a:defRPr>
            </a:lvl3pPr>
            <a:lvl4pPr marL="1600200" indent="-228600">
              <a:defRPr>
                <a:solidFill>
                  <a:schemeClr val="tx1"/>
                </a:solidFill>
                <a:latin typeface="Simplified Arabic" pitchFamily="18" charset="-78"/>
                <a:cs typeface="Simplified Arabic" pitchFamily="18" charset="-78"/>
              </a:defRPr>
            </a:lvl4pPr>
            <a:lvl5pPr marL="2057400" indent="-228600">
              <a:defRPr>
                <a:solidFill>
                  <a:schemeClr val="tx1"/>
                </a:solidFill>
                <a:latin typeface="Simplified Arabic" pitchFamily="18" charset="-78"/>
                <a:cs typeface="Simplified Arabic" pitchFamily="18" charset="-78"/>
              </a:defRPr>
            </a:lvl5pPr>
            <a:lvl6pPr marL="2514600" indent="-228600" fontAlgn="base">
              <a:spcBef>
                <a:spcPct val="0"/>
              </a:spcBef>
              <a:spcAft>
                <a:spcPct val="0"/>
              </a:spcAft>
              <a:defRPr>
                <a:solidFill>
                  <a:schemeClr val="tx1"/>
                </a:solidFill>
                <a:latin typeface="Simplified Arabic" pitchFamily="18" charset="-78"/>
                <a:cs typeface="Simplified Arabic" pitchFamily="18" charset="-78"/>
              </a:defRPr>
            </a:lvl6pPr>
            <a:lvl7pPr marL="2971800" indent="-228600" fontAlgn="base">
              <a:spcBef>
                <a:spcPct val="0"/>
              </a:spcBef>
              <a:spcAft>
                <a:spcPct val="0"/>
              </a:spcAft>
              <a:defRPr>
                <a:solidFill>
                  <a:schemeClr val="tx1"/>
                </a:solidFill>
                <a:latin typeface="Simplified Arabic" pitchFamily="18" charset="-78"/>
                <a:cs typeface="Simplified Arabic" pitchFamily="18" charset="-78"/>
              </a:defRPr>
            </a:lvl7pPr>
            <a:lvl8pPr marL="3429000" indent="-228600" fontAlgn="base">
              <a:spcBef>
                <a:spcPct val="0"/>
              </a:spcBef>
              <a:spcAft>
                <a:spcPct val="0"/>
              </a:spcAft>
              <a:defRPr>
                <a:solidFill>
                  <a:schemeClr val="tx1"/>
                </a:solidFill>
                <a:latin typeface="Simplified Arabic" pitchFamily="18" charset="-78"/>
                <a:cs typeface="Simplified Arabic" pitchFamily="18" charset="-78"/>
              </a:defRPr>
            </a:lvl8pPr>
            <a:lvl9pPr marL="3886200" indent="-228600" fontAlgn="base">
              <a:spcBef>
                <a:spcPct val="0"/>
              </a:spcBef>
              <a:spcAft>
                <a:spcPct val="0"/>
              </a:spcAft>
              <a:defRPr>
                <a:solidFill>
                  <a:schemeClr val="tx1"/>
                </a:solidFill>
                <a:latin typeface="Simplified Arabic" pitchFamily="18" charset="-78"/>
                <a:cs typeface="Simplified Arabic" pitchFamily="18" charset="-78"/>
              </a:defRPr>
            </a:lvl9pPr>
          </a:lstStyle>
          <a:p>
            <a:pPr algn="r" eaLnBrk="1" hangingPunct="1">
              <a:defRPr/>
            </a:pPr>
            <a:r>
              <a:rPr lang="ar-TN" sz="1000" b="1" smtClean="0">
                <a:solidFill>
                  <a:srgbClr val="898989"/>
                </a:solidFill>
                <a:latin typeface="Century Gothic" pitchFamily="34" charset="0"/>
              </a:rPr>
              <a:t>الجمهورية التونسية</a:t>
            </a:r>
            <a:br>
              <a:rPr lang="ar-TN" sz="1000" b="1" smtClean="0">
                <a:solidFill>
                  <a:srgbClr val="898989"/>
                </a:solidFill>
                <a:latin typeface="Century Gothic" pitchFamily="34" charset="0"/>
              </a:rPr>
            </a:br>
            <a:r>
              <a:rPr lang="ar-TN" sz="1000" b="1" smtClean="0">
                <a:solidFill>
                  <a:srgbClr val="898989"/>
                </a:solidFill>
                <a:latin typeface="Century Gothic" pitchFamily="34" charset="0"/>
              </a:rPr>
              <a:t>وزارة التنمية والاستثمار والتعاون الدولي</a:t>
            </a:r>
            <a:endParaRPr lang="fr-BE" sz="1000" smtClean="0">
              <a:solidFill>
                <a:srgbClr val="898989"/>
              </a:solidFill>
              <a:latin typeface="Century Gothic" pitchFamily="34" charset="0"/>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l="10898" t="19022" r="79630" b="55902"/>
          <a:stretch>
            <a:fillRect/>
          </a:stretch>
        </p:blipFill>
        <p:spPr bwMode="auto">
          <a:xfrm>
            <a:off x="8729663" y="6357938"/>
            <a:ext cx="365125"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Espace réservé du numéro de diapositive 5"/>
          <p:cNvSpPr txBox="1">
            <a:spLocks/>
          </p:cNvSpPr>
          <p:nvPr/>
        </p:nvSpPr>
        <p:spPr>
          <a:xfrm>
            <a:off x="428625" y="6418263"/>
            <a:ext cx="625475"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fld id="{EC5E8CE2-1C91-4F8C-A43F-E23723AE9FD9}" type="slidenum">
              <a:rPr lang="fr-BE" altLang="fr-FR" sz="1000" smtClean="0">
                <a:solidFill>
                  <a:srgbClr val="E51B2E"/>
                </a:solidFill>
              </a:rPr>
              <a:pPr algn="ctr" eaLnBrk="1" hangingPunct="1">
                <a:defRPr/>
              </a:pPr>
              <a:t>‹N°›</a:t>
            </a:fld>
            <a:endParaRPr lang="fr-BE" altLang="fr-FR" sz="1000" smtClean="0">
              <a:solidFill>
                <a:srgbClr val="E51B2E"/>
              </a:solidFill>
            </a:endParaRPr>
          </a:p>
        </p:txBody>
      </p:sp>
      <p:sp>
        <p:nvSpPr>
          <p:cNvPr id="12" name="Title 1"/>
          <p:cNvSpPr>
            <a:spLocks noGrp="1"/>
          </p:cNvSpPr>
          <p:nvPr>
            <p:ph type="title"/>
          </p:nvPr>
        </p:nvSpPr>
        <p:spPr>
          <a:xfrm>
            <a:off x="123378" y="13386"/>
            <a:ext cx="5450114" cy="509133"/>
          </a:xfrm>
        </p:spPr>
        <p:txBody>
          <a:bodyPr>
            <a:normAutofit/>
          </a:bodyPr>
          <a:lstStyle>
            <a:lvl1pPr algn="r">
              <a:defRPr sz="1400">
                <a:latin typeface="Arial" pitchFamily="34" charset="0"/>
                <a:cs typeface="Arial" pitchFamily="34" charset="0"/>
              </a:defRPr>
            </a:lvl1pPr>
          </a:lstStyle>
          <a:p>
            <a:r>
              <a:rPr lang="fr-FR" smtClean="0"/>
              <a:t>Cliquez pour modifier le style du titre</a:t>
            </a:r>
            <a:endParaRPr lang="fr-FR" dirty="0"/>
          </a:p>
        </p:txBody>
      </p:sp>
      <p:sp>
        <p:nvSpPr>
          <p:cNvPr id="21" name="Text Placeholder 4"/>
          <p:cNvSpPr>
            <a:spLocks noGrp="1"/>
          </p:cNvSpPr>
          <p:nvPr>
            <p:ph type="body" sz="quarter" idx="3"/>
          </p:nvPr>
        </p:nvSpPr>
        <p:spPr>
          <a:xfrm>
            <a:off x="5689608" y="0"/>
            <a:ext cx="2612564" cy="522514"/>
          </a:xfrm>
        </p:spPr>
        <p:txBody>
          <a:bodyPr anchor="ctr">
            <a:normAutofit/>
          </a:bodyPr>
          <a:lstStyle>
            <a:lvl1pPr marL="0" indent="0">
              <a:buNone/>
              <a:defRPr kumimoji="0" lang="en-US" sz="16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29" name="Text Placeholder 28"/>
          <p:cNvSpPr>
            <a:spLocks noGrp="1"/>
          </p:cNvSpPr>
          <p:nvPr>
            <p:ph type="body" sz="quarter" idx="23"/>
          </p:nvPr>
        </p:nvSpPr>
        <p:spPr>
          <a:xfrm>
            <a:off x="164012" y="508681"/>
            <a:ext cx="8138160" cy="710519"/>
          </a:xfrm>
        </p:spPr>
        <p:txBody>
          <a:bodyPr anchor="ctr">
            <a:normAutofit/>
          </a:bodyPr>
          <a:lstStyle>
            <a:lvl1pPr marL="0" indent="0" algn="r" rtl="1">
              <a:buNone/>
              <a:defRPr sz="1200">
                <a:latin typeface="Arial" pitchFamily="34" charset="0"/>
                <a:cs typeface="Arial" pitchFamily="34" charset="0"/>
              </a:defRPr>
            </a:lvl1pPr>
            <a:lvl2pPr>
              <a:buNone/>
              <a:defRPr/>
            </a:lvl2pPr>
          </a:lstStyle>
          <a:p>
            <a:pPr lvl="0"/>
            <a:r>
              <a:rPr lang="fr-FR" smtClean="0"/>
              <a:t>Cliquez pour modifier les styles du texte du masque</a:t>
            </a:r>
          </a:p>
        </p:txBody>
      </p:sp>
    </p:spTree>
    <p:extLst>
      <p:ext uri="{BB962C8B-B14F-4D97-AF65-F5344CB8AC3E}">
        <p14:creationId xmlns:p14="http://schemas.microsoft.com/office/powerpoint/2010/main" val="35330308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10" Type="http://schemas.openxmlformats.org/officeDocument/2006/relationships/image" Target="../media/image1.jpeg"/><Relationship Id="rId4" Type="http://schemas.openxmlformats.org/officeDocument/2006/relationships/slideLayout" Target="../slideLayouts/slideLayout5.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1.jpeg"/><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1.xml"/><Relationship Id="rId1" Type="http://schemas.openxmlformats.org/officeDocument/2006/relationships/slideLayout" Target="../slideLayouts/slideLayout13.xml"/></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2.xml"/><Relationship Id="rId1" Type="http://schemas.openxmlformats.org/officeDocument/2006/relationships/slideLayout" Target="../slideLayouts/slideLayout14.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jpeg"/><Relationship Id="rId5" Type="http://schemas.openxmlformats.org/officeDocument/2006/relationships/slideLayout" Target="../slideLayouts/slideLayout19.xml"/><Relationship Id="rId10" Type="http://schemas.openxmlformats.org/officeDocument/2006/relationships/theme" Target="../theme/theme23.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7.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2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7.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2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8.jpeg"/><Relationship Id="rId4" Type="http://schemas.openxmlformats.org/officeDocument/2006/relationships/slideLayout" Target="../slideLayouts/slideLayout49.xml"/><Relationship Id="rId9"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10" Type="http://schemas.openxmlformats.org/officeDocument/2006/relationships/image" Target="../media/image18.jpeg"/><Relationship Id="rId4" Type="http://schemas.openxmlformats.org/officeDocument/2006/relationships/slideLayout" Target="../slideLayouts/slideLayout57.xml"/><Relationship Id="rId9"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image" Target="../media/image1.jpeg"/><Relationship Id="rId4" Type="http://schemas.openxmlformats.org/officeDocument/2006/relationships/slideLayout" Target="../slideLayouts/slideLayout65.xml"/><Relationship Id="rId9"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image" Target="../media/image17.jpe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29.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10" Type="http://schemas.openxmlformats.org/officeDocument/2006/relationships/image" Target="../media/image18.jpeg"/><Relationship Id="rId4" Type="http://schemas.openxmlformats.org/officeDocument/2006/relationships/slideLayout" Target="../slideLayouts/slideLayout84.xml"/><Relationship Id="rId9"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image" Target="../media/image1.jpeg"/><Relationship Id="rId4" Type="http://schemas.openxmlformats.org/officeDocument/2006/relationships/slideLayout" Target="../slideLayouts/slideLayout92.xml"/><Relationship Id="rId9"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heme" Target="../theme/theme32.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image" Target="../media/image19.emf"/><Relationship Id="rId2" Type="http://schemas.openxmlformats.org/officeDocument/2006/relationships/slideLayout" Target="../slideLayouts/slideLayout98.xml"/><Relationship Id="rId16" Type="http://schemas.openxmlformats.org/officeDocument/2006/relationships/oleObject" Target="../embeddings/oleObject1.bin"/><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tags" Target="../tags/tag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vmlDrawing" Target="../drawings/vmlDrawing1.v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heme" Target="../theme/theme33.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image" Target="../media/image23.emf"/><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image" Target="../media/image1.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image" Target="../media/image1.jpeg"/><Relationship Id="rId5" Type="http://schemas.openxmlformats.org/officeDocument/2006/relationships/slideLayout" Target="../slideLayouts/slideLayout125.xml"/><Relationship Id="rId10" Type="http://schemas.openxmlformats.org/officeDocument/2006/relationships/theme" Target="../theme/theme34.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oleObject" Target="../embeddings/oleObject11.bin"/><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ags" Target="../tags/tag16.xml"/><Relationship Id="rId2" Type="http://schemas.openxmlformats.org/officeDocument/2006/relationships/slideLayout" Target="../slideLayouts/slideLayout131.xml"/><Relationship Id="rId16" Type="http://schemas.openxmlformats.org/officeDocument/2006/relationships/vmlDrawing" Target="../drawings/vmlDrawing11.v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theme" Target="../theme/theme35.xml"/><Relationship Id="rId10" Type="http://schemas.openxmlformats.org/officeDocument/2006/relationships/slideLayout" Target="../slideLayouts/slideLayout139.xml"/><Relationship Id="rId19" Type="http://schemas.openxmlformats.org/officeDocument/2006/relationships/image" Target="../media/image19.emf"/><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4.jpe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36.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37.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image" Target="../media/image23.emf"/><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image" Target="../media/image1.jpe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image" Target="../media/image17.jpeg"/><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theme" Target="../theme/theme3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theme" Target="../theme/theme39.xml"/><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image" Target="../media/image23.emf"/><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Image 6" descr="INTER-general.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028"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cSld>
  <p:clrMap bg1="lt1" tx1="dk1" bg2="lt2" tx2="dk2" accent1="accent1" accent2="accent2" accent3="accent3" accent4="accent4" accent5="accent5" accent6="accent6" hlink="hlink" folHlink="folHlink"/>
  <p:sldLayoutIdLst>
    <p:sldLayoutId id="2147491001" r:id="rId1"/>
  </p:sldLayoutIdLst>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0243"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pic>
        <p:nvPicPr>
          <p:cNvPr id="10244" name="Image 5" descr="Cuir-Sui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66"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pic>
        <p:nvPicPr>
          <p:cNvPr id="11267" name="Image 3" descr="OffShoring-Acceui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2291"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pic>
        <p:nvPicPr>
          <p:cNvPr id="12292" name="Image 4" descr="OffShoring-Sui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pic>
        <p:nvPicPr>
          <p:cNvPr id="13315" name="Image 4" descr="Plasturgie-Acceui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8"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4339"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pic>
        <p:nvPicPr>
          <p:cNvPr id="14340" name="Image 5" descr="Plasturgie-Sui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62"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pic>
        <p:nvPicPr>
          <p:cNvPr id="15363" name="Image 3" descr="Textile-Acceui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6"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6387"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pic>
        <p:nvPicPr>
          <p:cNvPr id="16388" name="Image 4" descr="Textile-Sui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7410" name="Image 6" descr="FOND-ACCEIU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8435"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pic>
        <p:nvPicPr>
          <p:cNvPr id="18436" name="Image 4" descr="Textile-Sui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9458" name="Image 6" descr="INTER-general.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9460"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19461" name="Group 102"/>
          <p:cNvGrpSpPr>
            <a:grpSpLocks/>
          </p:cNvGrpSpPr>
          <p:nvPr/>
        </p:nvGrpSpPr>
        <p:grpSpPr bwMode="auto">
          <a:xfrm>
            <a:off x="-215900" y="-215900"/>
            <a:ext cx="9574213" cy="7289800"/>
            <a:chOff x="-136" y="-136"/>
            <a:chExt cx="6031" cy="4592"/>
          </a:xfrm>
        </p:grpSpPr>
        <p:sp>
          <p:nvSpPr>
            <p:cNvPr id="19471"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2"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3"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4"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5"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6"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7"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8"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79"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0"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1"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2"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3"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4"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5"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6"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9487"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19462"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19463"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19464"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19465"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19466"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19467"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19468"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19469"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19470"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088" r:id="rId1"/>
    <p:sldLayoutId id="2147491089" r:id="rId2"/>
    <p:sldLayoutId id="2147491090" r:id="rId3"/>
    <p:sldLayoutId id="2147491091" r:id="rId4"/>
    <p:sldLayoutId id="2147491092" r:id="rId5"/>
    <p:sldLayoutId id="2147491093" r:id="rId6"/>
    <p:sldLayoutId id="2147491094" r:id="rId7"/>
    <p:sldLayoutId id="2147491002" r:id="rId8"/>
  </p:sldLayoutIdLst>
  <p:transition spd="med">
    <p:fade/>
  </p:transition>
  <p:timing>
    <p:tnLst>
      <p:par>
        <p:cTn id="1" dur="indefinite" restart="never" nodeType="tmRoot"/>
      </p:par>
    </p:tnLst>
  </p:timing>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pic>
        <p:nvPicPr>
          <p:cNvPr id="2051" name="Image 3" descr="Mecanique-Acceui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482" name="Image 6" descr="INTER-general.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0484"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cSld>
  <p:clrMap bg1="lt1" tx1="dk1" bg2="lt2" tx2="dk2" accent1="accent1" accent2="accent2" accent3="accent3" accent4="accent4" accent5="accent5" accent6="accent6" hlink="hlink" folHlink="folHlink"/>
  <p:sldLayoutIdLst>
    <p:sldLayoutId id="2147491003" r:id="rId1"/>
    <p:sldLayoutId id="2147491095" r:id="rId2"/>
    <p:sldLayoutId id="2147491004" r:id="rId3"/>
  </p:sldLayoutIdLst>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1506" name="Image 6" descr="INTER-general.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7"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1508"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cSld>
  <p:clrMap bg1="lt1" tx1="dk1" bg2="lt2" tx2="dk2" accent1="accent1" accent2="accent2" accent3="accent3" accent4="accent4" accent5="accent5" accent6="accent6" hlink="hlink" folHlink="folHlink"/>
  <p:sldLayoutIdLst>
    <p:sldLayoutId id="2147491005" r:id="rId1"/>
  </p:sldLayoutIdLst>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2530" name="Image 6" descr="INTER-general.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1"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2532"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cSld>
  <p:clrMap bg1="lt1" tx1="dk1" bg2="lt2" tx2="dk2" accent1="accent1" accent2="accent2" accent3="accent3" accent4="accent4" accent5="accent5" accent6="accent6" hlink="hlink" folHlink="folHlink"/>
  <p:sldLayoutIdLst>
    <p:sldLayoutId id="2147491006" r:id="rId1"/>
  </p:sldLayoutIdLst>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3554" name="Image 6" descr="INTER-general.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5"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3556"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23557" name="Group 102"/>
          <p:cNvGrpSpPr>
            <a:grpSpLocks/>
          </p:cNvGrpSpPr>
          <p:nvPr/>
        </p:nvGrpSpPr>
        <p:grpSpPr bwMode="auto">
          <a:xfrm>
            <a:off x="-215900" y="-215900"/>
            <a:ext cx="9574213" cy="7289800"/>
            <a:chOff x="-136" y="-136"/>
            <a:chExt cx="6031" cy="4592"/>
          </a:xfrm>
        </p:grpSpPr>
        <p:sp>
          <p:nvSpPr>
            <p:cNvPr id="23567"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68" name="Line 43"/>
            <p:cNvSpPr>
              <a:spLocks noChangeShapeType="1"/>
            </p:cNvSpPr>
            <p:nvPr userDrawn="1"/>
          </p:nvSpPr>
          <p:spPr bwMode="auto">
            <a:xfrm rot="5400000">
              <a:off x="-79"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69" name="Line 44"/>
            <p:cNvSpPr>
              <a:spLocks noChangeShapeType="1"/>
            </p:cNvSpPr>
            <p:nvPr userDrawn="1"/>
          </p:nvSpPr>
          <p:spPr bwMode="auto">
            <a:xfrm rot="5400000">
              <a:off x="-79"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0" name="Line 45"/>
            <p:cNvSpPr>
              <a:spLocks noChangeShapeType="1"/>
            </p:cNvSpPr>
            <p:nvPr userDrawn="1"/>
          </p:nvSpPr>
          <p:spPr bwMode="auto">
            <a:xfrm rot="5400000">
              <a:off x="-79"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1" name="Line 46"/>
            <p:cNvSpPr>
              <a:spLocks noChangeShapeType="1"/>
            </p:cNvSpPr>
            <p:nvPr userDrawn="1"/>
          </p:nvSpPr>
          <p:spPr bwMode="auto">
            <a:xfrm rot="5400000">
              <a:off x="-79"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2" name="Line 47"/>
            <p:cNvSpPr>
              <a:spLocks noChangeShapeType="1"/>
            </p:cNvSpPr>
            <p:nvPr userDrawn="1"/>
          </p:nvSpPr>
          <p:spPr bwMode="auto">
            <a:xfrm rot="5400000">
              <a:off x="-79"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3"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4"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5"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6"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7" name="Line 52"/>
            <p:cNvSpPr>
              <a:spLocks noChangeShapeType="1"/>
            </p:cNvSpPr>
            <p:nvPr userDrawn="1"/>
          </p:nvSpPr>
          <p:spPr bwMode="auto">
            <a:xfrm rot="5400000">
              <a:off x="5838"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8" name="Line 53"/>
            <p:cNvSpPr>
              <a:spLocks noChangeShapeType="1"/>
            </p:cNvSpPr>
            <p:nvPr userDrawn="1"/>
          </p:nvSpPr>
          <p:spPr bwMode="auto">
            <a:xfrm rot="5400000">
              <a:off x="5838"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79" name="Line 54"/>
            <p:cNvSpPr>
              <a:spLocks noChangeShapeType="1"/>
            </p:cNvSpPr>
            <p:nvPr userDrawn="1"/>
          </p:nvSpPr>
          <p:spPr bwMode="auto">
            <a:xfrm rot="5400000">
              <a:off x="5838"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80" name="Line 55"/>
            <p:cNvSpPr>
              <a:spLocks noChangeShapeType="1"/>
            </p:cNvSpPr>
            <p:nvPr userDrawn="1"/>
          </p:nvSpPr>
          <p:spPr bwMode="auto">
            <a:xfrm rot="5400000">
              <a:off x="5838"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81" name="Line 56"/>
            <p:cNvSpPr>
              <a:spLocks noChangeShapeType="1"/>
            </p:cNvSpPr>
            <p:nvPr userDrawn="1"/>
          </p:nvSpPr>
          <p:spPr bwMode="auto">
            <a:xfrm rot="5400000">
              <a:off x="5838"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82" name="Line 57"/>
            <p:cNvSpPr>
              <a:spLocks noChangeShapeType="1"/>
            </p:cNvSpPr>
            <p:nvPr userDrawn="1"/>
          </p:nvSpPr>
          <p:spPr bwMode="auto">
            <a:xfrm rot="5400000">
              <a:off x="5838"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3583"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23558"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23559"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23560"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3561"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23562"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3563"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23564"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23565"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23566"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096" r:id="rId1"/>
    <p:sldLayoutId id="2147491097" r:id="rId2"/>
    <p:sldLayoutId id="2147491098" r:id="rId3"/>
    <p:sldLayoutId id="2147491099" r:id="rId4"/>
    <p:sldLayoutId id="2147491100" r:id="rId5"/>
    <p:sldLayoutId id="2147491101" r:id="rId6"/>
    <p:sldLayoutId id="2147491102" r:id="rId7"/>
    <p:sldLayoutId id="2147491103" r:id="rId8"/>
    <p:sldLayoutId id="2147491104" r:id="rId9"/>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itchFamily="34" charset="0"/>
        </a:defRPr>
      </a:lvl2pPr>
      <a:lvl3pPr algn="l" rtl="0" eaLnBrk="0" fontAlgn="base" hangingPunct="0">
        <a:spcBef>
          <a:spcPct val="0"/>
        </a:spcBef>
        <a:spcAft>
          <a:spcPct val="0"/>
        </a:spcAft>
        <a:defRPr sz="3200">
          <a:solidFill>
            <a:srgbClr val="FFFFFF"/>
          </a:solidFill>
          <a:latin typeface="Calibri" pitchFamily="34" charset="0"/>
        </a:defRPr>
      </a:lvl3pPr>
      <a:lvl4pPr algn="l" rtl="0" eaLnBrk="0" fontAlgn="base" hangingPunct="0">
        <a:spcBef>
          <a:spcPct val="0"/>
        </a:spcBef>
        <a:spcAft>
          <a:spcPct val="0"/>
        </a:spcAft>
        <a:defRPr sz="3200">
          <a:solidFill>
            <a:srgbClr val="FFFFFF"/>
          </a:solidFill>
          <a:latin typeface="Calibri" pitchFamily="34" charset="0"/>
        </a:defRPr>
      </a:lvl4pPr>
      <a:lvl5pPr algn="l" rtl="0" eaLnBrk="0" fontAlgn="base" hangingPunct="0">
        <a:spcBef>
          <a:spcPct val="0"/>
        </a:spcBef>
        <a:spcAft>
          <a:spcPct val="0"/>
        </a:spcAft>
        <a:defRPr sz="3200">
          <a:solidFill>
            <a:srgbClr val="FFFFFF"/>
          </a:solidFill>
          <a:latin typeface="Calibri" pitchFamily="34" charset="0"/>
        </a:defRPr>
      </a:lvl5pPr>
      <a:lvl6pPr marL="457200" algn="l" rtl="0" fontAlgn="base">
        <a:spcBef>
          <a:spcPct val="0"/>
        </a:spcBef>
        <a:spcAft>
          <a:spcPct val="0"/>
        </a:spcAft>
        <a:defRPr sz="3200">
          <a:solidFill>
            <a:srgbClr val="FFFFFF"/>
          </a:solidFill>
          <a:latin typeface="Calibri" pitchFamily="34" charset="0"/>
        </a:defRPr>
      </a:lvl6pPr>
      <a:lvl7pPr marL="914400" algn="l" rtl="0" fontAlgn="base">
        <a:spcBef>
          <a:spcPct val="0"/>
        </a:spcBef>
        <a:spcAft>
          <a:spcPct val="0"/>
        </a:spcAft>
        <a:defRPr sz="3200">
          <a:solidFill>
            <a:srgbClr val="FFFFFF"/>
          </a:solidFill>
          <a:latin typeface="Calibri" pitchFamily="34" charset="0"/>
        </a:defRPr>
      </a:lvl7pPr>
      <a:lvl8pPr marL="1371600" algn="l" rtl="0" fontAlgn="base">
        <a:spcBef>
          <a:spcPct val="0"/>
        </a:spcBef>
        <a:spcAft>
          <a:spcPct val="0"/>
        </a:spcAft>
        <a:defRPr sz="3200">
          <a:solidFill>
            <a:srgbClr val="FFFFFF"/>
          </a:solidFill>
          <a:latin typeface="Calibri" pitchFamily="34" charset="0"/>
        </a:defRPr>
      </a:lvl8pPr>
      <a:lvl9pPr marL="1828800" algn="l" rtl="0" fontAlgn="base">
        <a:spcBef>
          <a:spcPct val="0"/>
        </a:spcBef>
        <a:spcAft>
          <a:spcPct val="0"/>
        </a:spcAft>
        <a:defRPr sz="3200">
          <a:solidFill>
            <a:srgbClr val="FFFFFF"/>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4578" name="Image 6" descr="INTER-general.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79"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4580"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24581" name="Group 102"/>
          <p:cNvGrpSpPr>
            <a:grpSpLocks/>
          </p:cNvGrpSpPr>
          <p:nvPr/>
        </p:nvGrpSpPr>
        <p:grpSpPr bwMode="auto">
          <a:xfrm>
            <a:off x="-215900" y="-215900"/>
            <a:ext cx="9574213" cy="7289800"/>
            <a:chOff x="-136" y="-136"/>
            <a:chExt cx="6031" cy="4592"/>
          </a:xfrm>
        </p:grpSpPr>
        <p:sp>
          <p:nvSpPr>
            <p:cNvPr id="24591"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2"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3"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4"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5"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6"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7"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8"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599"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0"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1"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2"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3"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4"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5"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6"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4607"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24582"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24583"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24584"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4585"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24586"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4587"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24588"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24589"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24590"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007" r:id="rId1"/>
    <p:sldLayoutId id="2147491008" r:id="rId2"/>
    <p:sldLayoutId id="2147491009" r:id="rId3"/>
    <p:sldLayoutId id="2147491010" r:id="rId4"/>
    <p:sldLayoutId id="2147491011" r:id="rId5"/>
    <p:sldLayoutId id="2147491105" r:id="rId6"/>
    <p:sldLayoutId id="2147491012" r:id="rId7"/>
    <p:sldLayoutId id="2147491013" r:id="rId8"/>
    <p:sldLayoutId id="2147491106" r:id="rId9"/>
    <p:sldLayoutId id="2147491014" r:id="rId10"/>
    <p:sldLayoutId id="2147491107" r:id="rId11"/>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5602" name="Image 6" descr="INTER-general.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3"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5604"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25605" name="Group 102"/>
          <p:cNvGrpSpPr>
            <a:grpSpLocks/>
          </p:cNvGrpSpPr>
          <p:nvPr/>
        </p:nvGrpSpPr>
        <p:grpSpPr bwMode="auto">
          <a:xfrm>
            <a:off x="-215900" y="-215900"/>
            <a:ext cx="9574213" cy="7289800"/>
            <a:chOff x="-136" y="-136"/>
            <a:chExt cx="6031" cy="4592"/>
          </a:xfrm>
        </p:grpSpPr>
        <p:sp>
          <p:nvSpPr>
            <p:cNvPr id="25615"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16"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17"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18"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19"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0"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1"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2"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3"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4"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5"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6"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7"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8"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29"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30"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5631"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25606"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25607"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25608"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5609"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25610"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5611"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25612"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25613"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25614"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015" r:id="rId1"/>
    <p:sldLayoutId id="2147491016" r:id="rId2"/>
    <p:sldLayoutId id="2147491017" r:id="rId3"/>
    <p:sldLayoutId id="2147491018" r:id="rId4"/>
    <p:sldLayoutId id="2147491019" r:id="rId5"/>
    <p:sldLayoutId id="2147491108" r:id="rId6"/>
    <p:sldLayoutId id="2147491020" r:id="rId7"/>
    <p:sldLayoutId id="2147491021" r:id="rId8"/>
    <p:sldLayoutId id="2147491109" r:id="rId9"/>
    <p:sldLayoutId id="2147491022" r:id="rId10"/>
    <p:sldLayoutId id="2147491110" r:id="rId11"/>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6626" name="Image 6" descr="INTER-general.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7"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6628"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26629" name="Group 102"/>
          <p:cNvGrpSpPr>
            <a:grpSpLocks/>
          </p:cNvGrpSpPr>
          <p:nvPr/>
        </p:nvGrpSpPr>
        <p:grpSpPr bwMode="auto">
          <a:xfrm>
            <a:off x="-215900" y="-215900"/>
            <a:ext cx="9574213" cy="7289800"/>
            <a:chOff x="-136" y="-136"/>
            <a:chExt cx="6031" cy="4592"/>
          </a:xfrm>
        </p:grpSpPr>
        <p:sp>
          <p:nvSpPr>
            <p:cNvPr id="26639"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0"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1"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2"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3"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4"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5"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6"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7"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8"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49"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50"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51"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52"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53"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54"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6655"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26630"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26631"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26632"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6633"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26634"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6635"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26636"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26637"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26638"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111" r:id="rId1"/>
    <p:sldLayoutId id="2147491023" r:id="rId2"/>
    <p:sldLayoutId id="2147491024" r:id="rId3"/>
    <p:sldLayoutId id="2147491025" r:id="rId4"/>
    <p:sldLayoutId id="2147491026" r:id="rId5"/>
    <p:sldLayoutId id="2147491112" r:id="rId6"/>
    <p:sldLayoutId id="2147491027" r:id="rId7"/>
    <p:sldLayoutId id="2147491028" r:id="rId8"/>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7650" name="Image 6" descr="INTER-general.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7652"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27653" name="Group 102"/>
          <p:cNvGrpSpPr>
            <a:grpSpLocks/>
          </p:cNvGrpSpPr>
          <p:nvPr/>
        </p:nvGrpSpPr>
        <p:grpSpPr bwMode="auto">
          <a:xfrm>
            <a:off x="-215900" y="-215900"/>
            <a:ext cx="9574213" cy="7289800"/>
            <a:chOff x="-136" y="-136"/>
            <a:chExt cx="6031" cy="4592"/>
          </a:xfrm>
        </p:grpSpPr>
        <p:sp>
          <p:nvSpPr>
            <p:cNvPr id="27663"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64"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65"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66"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67"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68"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69"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0"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1"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2"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3"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4"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5"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6"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7"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8"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7679"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27654"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27655"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27656"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7657"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27658"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7659"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27660"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27661"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27662"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113" r:id="rId1"/>
    <p:sldLayoutId id="2147491029" r:id="rId2"/>
    <p:sldLayoutId id="2147491030" r:id="rId3"/>
    <p:sldLayoutId id="2147491031" r:id="rId4"/>
    <p:sldLayoutId id="2147491032" r:id="rId5"/>
    <p:sldLayoutId id="2147491114" r:id="rId6"/>
    <p:sldLayoutId id="2147491033" r:id="rId7"/>
    <p:sldLayoutId id="2147491034" r:id="rId8"/>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8674" name="Image 6" descr="INTER-general.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8676"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28677" name="Group 102"/>
          <p:cNvGrpSpPr>
            <a:grpSpLocks/>
          </p:cNvGrpSpPr>
          <p:nvPr/>
        </p:nvGrpSpPr>
        <p:grpSpPr bwMode="auto">
          <a:xfrm>
            <a:off x="-215900" y="-215900"/>
            <a:ext cx="9574213" cy="7289800"/>
            <a:chOff x="-136" y="-136"/>
            <a:chExt cx="6031" cy="4592"/>
          </a:xfrm>
        </p:grpSpPr>
        <p:sp>
          <p:nvSpPr>
            <p:cNvPr id="28687"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88"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89"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0"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1"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2"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3"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4"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5"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6"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7"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8"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699"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700"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701"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702"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8703"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29702"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29703"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29704"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9705"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29706"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29707"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29708"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29709"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29710"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115" r:id="rId1"/>
    <p:sldLayoutId id="2147491116" r:id="rId2"/>
    <p:sldLayoutId id="2147491117" r:id="rId3"/>
    <p:sldLayoutId id="2147491118" r:id="rId4"/>
    <p:sldLayoutId id="2147491119" r:id="rId5"/>
    <p:sldLayoutId id="2147491120" r:id="rId6"/>
    <p:sldLayoutId id="2147491121" r:id="rId7"/>
    <p:sldLayoutId id="2147491035" r:id="rId8"/>
  </p:sldLayoutIdLst>
  <p:transition spd="med">
    <p:fade/>
  </p:transition>
  <p:timing>
    <p:tnLst>
      <p:par>
        <p:cTn id="1" dur="indefinite" restart="never" nodeType="tmRoot"/>
      </p:par>
    </p:tnLst>
  </p:timing>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Image 6" descr="INTER-general.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29700"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29701" name="Group 102"/>
          <p:cNvGrpSpPr>
            <a:grpSpLocks/>
          </p:cNvGrpSpPr>
          <p:nvPr/>
        </p:nvGrpSpPr>
        <p:grpSpPr bwMode="auto">
          <a:xfrm>
            <a:off x="-215900" y="-215900"/>
            <a:ext cx="9574213" cy="7289800"/>
            <a:chOff x="-136" y="-136"/>
            <a:chExt cx="6031" cy="4592"/>
          </a:xfrm>
        </p:grpSpPr>
        <p:sp>
          <p:nvSpPr>
            <p:cNvPr id="29711"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2"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3"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4"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5"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6"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7"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8"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19"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0"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1"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2"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3"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4"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5"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6"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29727"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0726"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0727"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0728"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0729"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0730"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0731"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0732"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0733"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0734"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036" r:id="rId1"/>
    <p:sldLayoutId id="2147491037" r:id="rId2"/>
    <p:sldLayoutId id="2147491038" r:id="rId3"/>
    <p:sldLayoutId id="2147491039" r:id="rId4"/>
    <p:sldLayoutId id="2147491040" r:id="rId5"/>
    <p:sldLayoutId id="2147491122" r:id="rId6"/>
    <p:sldLayoutId id="2147491041" r:id="rId7"/>
    <p:sldLayoutId id="2147491042" r:id="rId8"/>
    <p:sldLayoutId id="2147491043" r:id="rId9"/>
    <p:sldLayoutId id="2147491123" r:id="rId10"/>
    <p:sldLayoutId id="2147491124" r:id="rId11"/>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Espace réservé du titre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075" name="Espace réservé du texte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hangingPunct="1">
              <a:defRPr sz="1200">
                <a:solidFill>
                  <a:schemeClr val="tx1">
                    <a:tint val="75000"/>
                  </a:schemeClr>
                </a:solidFill>
              </a:defRPr>
            </a:lvl1pPr>
          </a:lstStyle>
          <a:p>
            <a:pPr>
              <a:defRPr/>
            </a:pPr>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defRPr>
            </a:lvl1pPr>
          </a:lstStyle>
          <a:p>
            <a:pPr>
              <a:defRPr/>
            </a:pPr>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D6948E"/>
                </a:solidFill>
              </a:defRPr>
            </a:lvl1pPr>
          </a:lstStyle>
          <a:p>
            <a:pPr>
              <a:defRPr/>
            </a:pPr>
            <a:fld id="{8E3082ED-C9D0-4C13-8BE9-115C510D5402}" type="slidenum">
              <a:rPr lang="fr-FR" altLang="fr-FR"/>
              <a:pPr>
                <a:defRPr/>
              </a:pPr>
              <a:t>‹N°›</a:t>
            </a:fld>
            <a:endParaRPr lang="fr-FR" altLang="fr-FR"/>
          </a:p>
        </p:txBody>
      </p:sp>
      <p:pic>
        <p:nvPicPr>
          <p:cNvPr id="3079" name="Image 6" descr="INTER MECAN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22" name="Image 6" descr="INTER-general.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3"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0724"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30725" name="Group 102"/>
          <p:cNvGrpSpPr>
            <a:grpSpLocks/>
          </p:cNvGrpSpPr>
          <p:nvPr/>
        </p:nvGrpSpPr>
        <p:grpSpPr bwMode="auto">
          <a:xfrm>
            <a:off x="-215900" y="-215900"/>
            <a:ext cx="9574213" cy="7289800"/>
            <a:chOff x="-136" y="-136"/>
            <a:chExt cx="6031" cy="4592"/>
          </a:xfrm>
        </p:grpSpPr>
        <p:sp>
          <p:nvSpPr>
            <p:cNvPr id="30735"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36"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37"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38"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39"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0"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1"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2"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3"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4"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5"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6"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7"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8"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49"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50"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0751"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1750"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1751"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1752"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1753"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1754"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1755"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1756"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1757"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1758"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125" r:id="rId1"/>
    <p:sldLayoutId id="2147491044" r:id="rId2"/>
    <p:sldLayoutId id="2147491045" r:id="rId3"/>
    <p:sldLayoutId id="2147491046" r:id="rId4"/>
    <p:sldLayoutId id="2147491047" r:id="rId5"/>
    <p:sldLayoutId id="2147491126" r:id="rId6"/>
    <p:sldLayoutId id="2147491048" r:id="rId7"/>
    <p:sldLayoutId id="2147491049" r:id="rId8"/>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1746" name="Image 6" descr="INTER-general.jp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1748"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31749" name="Group 102"/>
          <p:cNvGrpSpPr>
            <a:grpSpLocks/>
          </p:cNvGrpSpPr>
          <p:nvPr/>
        </p:nvGrpSpPr>
        <p:grpSpPr bwMode="auto">
          <a:xfrm>
            <a:off x="-215900" y="-215900"/>
            <a:ext cx="9574213" cy="7289800"/>
            <a:chOff x="-136" y="-136"/>
            <a:chExt cx="6031" cy="4592"/>
          </a:xfrm>
        </p:grpSpPr>
        <p:sp>
          <p:nvSpPr>
            <p:cNvPr id="31759"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0"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1"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2"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3"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4"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5"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6"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7"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8"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69"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70"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71"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72"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73"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74"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1775"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2774"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2775"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2776"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2777"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2778"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2779"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2780"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2781"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2782"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127" r:id="rId1"/>
    <p:sldLayoutId id="2147491128" r:id="rId2"/>
    <p:sldLayoutId id="2147491129" r:id="rId3"/>
    <p:sldLayoutId id="2147491130" r:id="rId4"/>
    <p:sldLayoutId id="2147491131" r:id="rId5"/>
    <p:sldLayoutId id="2147491132" r:id="rId6"/>
    <p:sldLayoutId id="2147491133" r:id="rId7"/>
    <p:sldLayoutId id="2147491050" r:id="rId8"/>
  </p:sldLayoutIdLst>
  <p:transition spd="med">
    <p:fade/>
  </p:transition>
  <p:timing>
    <p:tnLst>
      <p:par>
        <p:cTn id="1" dur="indefinite" restart="never" nodeType="tmRoot"/>
      </p:par>
    </p:tnLst>
  </p:timing>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itchFamily="34" charset="0"/>
        </a:defRPr>
      </a:lvl2pPr>
      <a:lvl3pPr algn="l" rtl="0" eaLnBrk="0" fontAlgn="base" hangingPunct="0">
        <a:spcBef>
          <a:spcPct val="0"/>
        </a:spcBef>
        <a:spcAft>
          <a:spcPct val="0"/>
        </a:spcAft>
        <a:defRPr sz="3200">
          <a:solidFill>
            <a:srgbClr val="FFFFFF"/>
          </a:solidFill>
          <a:latin typeface="Calibri" pitchFamily="34" charset="0"/>
        </a:defRPr>
      </a:lvl3pPr>
      <a:lvl4pPr algn="l" rtl="0" eaLnBrk="0" fontAlgn="base" hangingPunct="0">
        <a:spcBef>
          <a:spcPct val="0"/>
        </a:spcBef>
        <a:spcAft>
          <a:spcPct val="0"/>
        </a:spcAft>
        <a:defRPr sz="3200">
          <a:solidFill>
            <a:srgbClr val="FFFFFF"/>
          </a:solidFill>
          <a:latin typeface="Calibri" pitchFamily="34" charset="0"/>
        </a:defRPr>
      </a:lvl4pPr>
      <a:lvl5pPr algn="l" rtl="0" eaLnBrk="0" fontAlgn="base" hangingPunct="0">
        <a:spcBef>
          <a:spcPct val="0"/>
        </a:spcBef>
        <a:spcAft>
          <a:spcPct val="0"/>
        </a:spcAft>
        <a:defRPr sz="3200">
          <a:solidFill>
            <a:srgbClr val="FFFFFF"/>
          </a:solidFill>
          <a:latin typeface="Calibri" pitchFamily="34" charset="0"/>
        </a:defRPr>
      </a:lvl5pPr>
      <a:lvl6pPr marL="457200" algn="l" rtl="0" fontAlgn="base">
        <a:spcBef>
          <a:spcPct val="0"/>
        </a:spcBef>
        <a:spcAft>
          <a:spcPct val="0"/>
        </a:spcAft>
        <a:defRPr sz="3200">
          <a:solidFill>
            <a:srgbClr val="FFFFFF"/>
          </a:solidFill>
          <a:latin typeface="Calibri" pitchFamily="34" charset="0"/>
        </a:defRPr>
      </a:lvl6pPr>
      <a:lvl7pPr marL="914400" algn="l" rtl="0" fontAlgn="base">
        <a:spcBef>
          <a:spcPct val="0"/>
        </a:spcBef>
        <a:spcAft>
          <a:spcPct val="0"/>
        </a:spcAft>
        <a:defRPr sz="3200">
          <a:solidFill>
            <a:srgbClr val="FFFFFF"/>
          </a:solidFill>
          <a:latin typeface="Calibri" pitchFamily="34" charset="0"/>
        </a:defRPr>
      </a:lvl7pPr>
      <a:lvl8pPr marL="1371600" algn="l" rtl="0" fontAlgn="base">
        <a:spcBef>
          <a:spcPct val="0"/>
        </a:spcBef>
        <a:spcAft>
          <a:spcPct val="0"/>
        </a:spcAft>
        <a:defRPr sz="3200">
          <a:solidFill>
            <a:srgbClr val="FFFFFF"/>
          </a:solidFill>
          <a:latin typeface="Calibri" pitchFamily="34" charset="0"/>
        </a:defRPr>
      </a:lvl8pPr>
      <a:lvl9pPr marL="1828800" algn="l" rtl="0" fontAlgn="base">
        <a:spcBef>
          <a:spcPct val="0"/>
        </a:spcBef>
        <a:spcAft>
          <a:spcPct val="0"/>
        </a:spcAft>
        <a:defRPr sz="3200">
          <a:solidFill>
            <a:srgbClr val="FFFFFF"/>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2770" name="Object 6" hidden="1"/>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8" name="think-cell Slide" r:id="rId16" imgW="270" imgH="270" progId="">
                  <p:embed/>
                </p:oleObj>
              </mc:Choice>
              <mc:Fallback>
                <p:oleObj name="think-cell Slide" r:id="rId16" imgW="270" imgH="270" progId="">
                  <p:embed/>
                  <p:pic>
                    <p:nvPicPr>
                      <p:cNvPr id="0" name="Object 6"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771"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endParaRPr lang="en-US" altLang="fr-FR" smtClean="0"/>
          </a:p>
        </p:txBody>
      </p:sp>
      <p:sp>
        <p:nvSpPr>
          <p:cNvPr id="3277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endParaRPr lang="en-US" altLang="fr-FR"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rgbClr val="000000">
                    <a:tint val="75000"/>
                  </a:srgbClr>
                </a:solidFill>
                <a:latin typeface="+mn-lt"/>
                <a:cs typeface="+mn-cs"/>
              </a:defRPr>
            </a:lvl1pPr>
          </a:lstStyle>
          <a:p>
            <a:pPr>
              <a:defRPr/>
            </a:pPr>
            <a:fld id="{A2D99E22-71F8-442D-9CEE-5A62041C48AC}" type="datetimeFigureOut">
              <a:rPr lang="fr-FR"/>
              <a:pPr>
                <a:defRPr/>
              </a:pPr>
              <a:t>27/09/2018</a:t>
            </a:fld>
            <a:endParaRPr lang="fr-F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rgbClr val="000000">
                    <a:tint val="75000"/>
                  </a:srgbClr>
                </a:solidFill>
                <a:latin typeface="+mn-lt"/>
                <a:cs typeface="+mn-cs"/>
              </a:defRPr>
            </a:lvl1pPr>
          </a:lstStyle>
          <a:p>
            <a:pPr>
              <a:defRPr/>
            </a:pPr>
            <a:endParaRPr lang="fr-F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Simplified Arabic" panose="02020603050405020304" pitchFamily="18" charset="-78"/>
                <a:cs typeface="Simplified Arabic" panose="02020603050405020304" pitchFamily="18" charset="-78"/>
              </a:defRPr>
            </a:lvl1pPr>
          </a:lstStyle>
          <a:p>
            <a:pPr>
              <a:defRPr/>
            </a:pPr>
            <a:fld id="{6957EF7D-273C-454C-B3CD-80F7BD5D2052}" type="slidenum">
              <a:rPr lang="fr-FR" altLang="fr-FR"/>
              <a:pPr>
                <a:defRPr/>
              </a:pPr>
              <a:t>‹N°›</a:t>
            </a:fld>
            <a:endParaRPr lang="fr-FR" altLang="fr-FR"/>
          </a:p>
        </p:txBody>
      </p:sp>
    </p:spTree>
  </p:cSld>
  <p:clrMap bg1="lt1" tx1="dk1" bg2="lt2" tx2="dk2" accent1="accent1" accent2="accent2" accent3="accent3" accent4="accent4" accent5="accent5" accent6="accent6" hlink="hlink" folHlink="folHlink"/>
  <p:sldLayoutIdLst>
    <p:sldLayoutId id="2147491134" r:id="rId1"/>
    <p:sldLayoutId id="2147491135" r:id="rId2"/>
    <p:sldLayoutId id="2147491136" r:id="rId3"/>
    <p:sldLayoutId id="2147491137" r:id="rId4"/>
    <p:sldLayoutId id="2147491138" r:id="rId5"/>
    <p:sldLayoutId id="2147491139" r:id="rId6"/>
    <p:sldLayoutId id="2147491140" r:id="rId7"/>
    <p:sldLayoutId id="2147491141" r:id="rId8"/>
    <p:sldLayoutId id="2147491142" r:id="rId9"/>
    <p:sldLayoutId id="2147491143" r:id="rId10"/>
    <p:sldLayoutId id="2147491144" r:id="rId11"/>
    <p:sldLayoutId id="2147491145"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2pPr>
      <a:lvl3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3pPr>
      <a:lvl4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4pPr>
      <a:lvl5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5pPr>
      <a:lvl6pPr marL="457200" algn="ctr" rtl="0" eaLnBrk="1" fontAlgn="base" hangingPunct="1">
        <a:spcBef>
          <a:spcPct val="0"/>
        </a:spcBef>
        <a:spcAft>
          <a:spcPct val="0"/>
        </a:spcAft>
        <a:defRPr sz="4400">
          <a:solidFill>
            <a:schemeClr val="tx1"/>
          </a:solidFill>
          <a:latin typeface="Arial" pitchFamily="34" charset="0"/>
        </a:defRPr>
      </a:lvl6pPr>
      <a:lvl7pPr marL="914400" algn="ctr" rtl="0" eaLnBrk="1" fontAlgn="base" hangingPunct="1">
        <a:spcBef>
          <a:spcPct val="0"/>
        </a:spcBef>
        <a:spcAft>
          <a:spcPct val="0"/>
        </a:spcAft>
        <a:defRPr sz="4400">
          <a:solidFill>
            <a:schemeClr val="tx1"/>
          </a:solidFill>
          <a:latin typeface="Arial" pitchFamily="34" charset="0"/>
        </a:defRPr>
      </a:lvl7pPr>
      <a:lvl8pPr marL="1371600" algn="ctr" rtl="0" eaLnBrk="1" fontAlgn="base" hangingPunct="1">
        <a:spcBef>
          <a:spcPct val="0"/>
        </a:spcBef>
        <a:spcAft>
          <a:spcPct val="0"/>
        </a:spcAft>
        <a:defRPr sz="4400">
          <a:solidFill>
            <a:schemeClr val="tx1"/>
          </a:solidFill>
          <a:latin typeface="Arial" pitchFamily="34" charset="0"/>
        </a:defRPr>
      </a:lvl8pPr>
      <a:lvl9pPr marL="1828800" algn="ctr" rtl="0" eaLnBrk="1" fontAlgn="base" hangingPunct="1">
        <a:spcBef>
          <a:spcPct val="0"/>
        </a:spcBef>
        <a:spcAft>
          <a:spcPct val="0"/>
        </a:spcAft>
        <a:defRPr sz="4400">
          <a:solidFill>
            <a:schemeClr val="tx1"/>
          </a:solidFill>
          <a:latin typeface="Arial"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3794" name="Image 6" descr="INTER-general.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5"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3796"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33797" name="Group 102"/>
          <p:cNvGrpSpPr>
            <a:grpSpLocks/>
          </p:cNvGrpSpPr>
          <p:nvPr/>
        </p:nvGrpSpPr>
        <p:grpSpPr bwMode="auto">
          <a:xfrm>
            <a:off x="-215900" y="-215900"/>
            <a:ext cx="9574213" cy="7289800"/>
            <a:chOff x="-136" y="-136"/>
            <a:chExt cx="6031" cy="4592"/>
          </a:xfrm>
        </p:grpSpPr>
        <p:sp>
          <p:nvSpPr>
            <p:cNvPr id="33808"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09" name="Line 43"/>
            <p:cNvSpPr>
              <a:spLocks noChangeShapeType="1"/>
            </p:cNvSpPr>
            <p:nvPr userDrawn="1"/>
          </p:nvSpPr>
          <p:spPr bwMode="auto">
            <a:xfrm rot="5400000">
              <a:off x="-79"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0" name="Line 44"/>
            <p:cNvSpPr>
              <a:spLocks noChangeShapeType="1"/>
            </p:cNvSpPr>
            <p:nvPr userDrawn="1"/>
          </p:nvSpPr>
          <p:spPr bwMode="auto">
            <a:xfrm rot="5400000">
              <a:off x="-79"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1" name="Line 45"/>
            <p:cNvSpPr>
              <a:spLocks noChangeShapeType="1"/>
            </p:cNvSpPr>
            <p:nvPr userDrawn="1"/>
          </p:nvSpPr>
          <p:spPr bwMode="auto">
            <a:xfrm rot="5400000">
              <a:off x="-79"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2" name="Line 46"/>
            <p:cNvSpPr>
              <a:spLocks noChangeShapeType="1"/>
            </p:cNvSpPr>
            <p:nvPr userDrawn="1"/>
          </p:nvSpPr>
          <p:spPr bwMode="auto">
            <a:xfrm rot="5400000">
              <a:off x="-79"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3" name="Line 47"/>
            <p:cNvSpPr>
              <a:spLocks noChangeShapeType="1"/>
            </p:cNvSpPr>
            <p:nvPr userDrawn="1"/>
          </p:nvSpPr>
          <p:spPr bwMode="auto">
            <a:xfrm rot="5400000">
              <a:off x="-79"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4"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5"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6"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7"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8" name="Line 52"/>
            <p:cNvSpPr>
              <a:spLocks noChangeShapeType="1"/>
            </p:cNvSpPr>
            <p:nvPr userDrawn="1"/>
          </p:nvSpPr>
          <p:spPr bwMode="auto">
            <a:xfrm rot="5400000">
              <a:off x="5838"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19" name="Line 53"/>
            <p:cNvSpPr>
              <a:spLocks noChangeShapeType="1"/>
            </p:cNvSpPr>
            <p:nvPr userDrawn="1"/>
          </p:nvSpPr>
          <p:spPr bwMode="auto">
            <a:xfrm rot="5400000">
              <a:off x="5838"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20" name="Line 54"/>
            <p:cNvSpPr>
              <a:spLocks noChangeShapeType="1"/>
            </p:cNvSpPr>
            <p:nvPr userDrawn="1"/>
          </p:nvSpPr>
          <p:spPr bwMode="auto">
            <a:xfrm rot="5400000">
              <a:off x="5838"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21" name="Line 55"/>
            <p:cNvSpPr>
              <a:spLocks noChangeShapeType="1"/>
            </p:cNvSpPr>
            <p:nvPr userDrawn="1"/>
          </p:nvSpPr>
          <p:spPr bwMode="auto">
            <a:xfrm rot="5400000">
              <a:off x="5838"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22" name="Line 56"/>
            <p:cNvSpPr>
              <a:spLocks noChangeShapeType="1"/>
            </p:cNvSpPr>
            <p:nvPr userDrawn="1"/>
          </p:nvSpPr>
          <p:spPr bwMode="auto">
            <a:xfrm rot="5400000">
              <a:off x="5838"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23" name="Line 57"/>
            <p:cNvSpPr>
              <a:spLocks noChangeShapeType="1"/>
            </p:cNvSpPr>
            <p:nvPr userDrawn="1"/>
          </p:nvSpPr>
          <p:spPr bwMode="auto">
            <a:xfrm rot="5400000">
              <a:off x="5838"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3824"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3798"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3799"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3800"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3801"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3802"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3803"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3804"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3805"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3806"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pic>
        <p:nvPicPr>
          <p:cNvPr id="33807" name="Image 3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551613" y="6459538"/>
            <a:ext cx="259238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1051" r:id="rId1"/>
    <p:sldLayoutId id="2147491146" r:id="rId2"/>
    <p:sldLayoutId id="2147491052" r:id="rId3"/>
    <p:sldLayoutId id="2147491053" r:id="rId4"/>
    <p:sldLayoutId id="2147491054" r:id="rId5"/>
    <p:sldLayoutId id="2147491147" r:id="rId6"/>
    <p:sldLayoutId id="2147491055" r:id="rId7"/>
    <p:sldLayoutId id="2147491056" r:id="rId8"/>
    <p:sldLayoutId id="2147491148" r:id="rId9"/>
    <p:sldLayoutId id="2147491149" r:id="rId10"/>
    <p:sldLayoutId id="2147491150" r:id="rId11"/>
    <p:sldLayoutId id="2147491151" r:id="rId12"/>
  </p:sldLayoutIdLst>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itchFamily="34" charset="0"/>
        </a:defRPr>
      </a:lvl2pPr>
      <a:lvl3pPr algn="l" rtl="0" eaLnBrk="0" fontAlgn="base" hangingPunct="0">
        <a:spcBef>
          <a:spcPct val="0"/>
        </a:spcBef>
        <a:spcAft>
          <a:spcPct val="0"/>
        </a:spcAft>
        <a:defRPr sz="3200">
          <a:solidFill>
            <a:srgbClr val="FFFFFF"/>
          </a:solidFill>
          <a:latin typeface="Calibri" pitchFamily="34" charset="0"/>
        </a:defRPr>
      </a:lvl3pPr>
      <a:lvl4pPr algn="l" rtl="0" eaLnBrk="0" fontAlgn="base" hangingPunct="0">
        <a:spcBef>
          <a:spcPct val="0"/>
        </a:spcBef>
        <a:spcAft>
          <a:spcPct val="0"/>
        </a:spcAft>
        <a:defRPr sz="3200">
          <a:solidFill>
            <a:srgbClr val="FFFFFF"/>
          </a:solidFill>
          <a:latin typeface="Calibri" pitchFamily="34" charset="0"/>
        </a:defRPr>
      </a:lvl4pPr>
      <a:lvl5pPr algn="l" rtl="0" eaLnBrk="0" fontAlgn="base" hangingPunct="0">
        <a:spcBef>
          <a:spcPct val="0"/>
        </a:spcBef>
        <a:spcAft>
          <a:spcPct val="0"/>
        </a:spcAft>
        <a:defRPr sz="3200">
          <a:solidFill>
            <a:srgbClr val="FFFFFF"/>
          </a:solidFill>
          <a:latin typeface="Calibri" pitchFamily="34" charset="0"/>
        </a:defRPr>
      </a:lvl5pPr>
      <a:lvl6pPr marL="457200" algn="l" rtl="0" fontAlgn="base">
        <a:spcBef>
          <a:spcPct val="0"/>
        </a:spcBef>
        <a:spcAft>
          <a:spcPct val="0"/>
        </a:spcAft>
        <a:defRPr sz="3200">
          <a:solidFill>
            <a:srgbClr val="FFFFFF"/>
          </a:solidFill>
          <a:latin typeface="Calibri" pitchFamily="34" charset="0"/>
        </a:defRPr>
      </a:lvl6pPr>
      <a:lvl7pPr marL="914400" algn="l" rtl="0" fontAlgn="base">
        <a:spcBef>
          <a:spcPct val="0"/>
        </a:spcBef>
        <a:spcAft>
          <a:spcPct val="0"/>
        </a:spcAft>
        <a:defRPr sz="3200">
          <a:solidFill>
            <a:srgbClr val="FFFFFF"/>
          </a:solidFill>
          <a:latin typeface="Calibri" pitchFamily="34" charset="0"/>
        </a:defRPr>
      </a:lvl7pPr>
      <a:lvl8pPr marL="1371600" algn="l" rtl="0" fontAlgn="base">
        <a:spcBef>
          <a:spcPct val="0"/>
        </a:spcBef>
        <a:spcAft>
          <a:spcPct val="0"/>
        </a:spcAft>
        <a:defRPr sz="3200">
          <a:solidFill>
            <a:srgbClr val="FFFFFF"/>
          </a:solidFill>
          <a:latin typeface="Calibri" pitchFamily="34" charset="0"/>
        </a:defRPr>
      </a:lvl8pPr>
      <a:lvl9pPr marL="1828800" algn="l" rtl="0" fontAlgn="base">
        <a:spcBef>
          <a:spcPct val="0"/>
        </a:spcBef>
        <a:spcAft>
          <a:spcPct val="0"/>
        </a:spcAft>
        <a:defRPr sz="3200">
          <a:solidFill>
            <a:srgbClr val="FFFFFF"/>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4818" name="Image 6" descr="INTER-general.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4820"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34821" name="Group 102"/>
          <p:cNvGrpSpPr>
            <a:grpSpLocks/>
          </p:cNvGrpSpPr>
          <p:nvPr/>
        </p:nvGrpSpPr>
        <p:grpSpPr bwMode="auto">
          <a:xfrm>
            <a:off x="-215900" y="-215900"/>
            <a:ext cx="9574213" cy="7289800"/>
            <a:chOff x="-136" y="-136"/>
            <a:chExt cx="6031" cy="4592"/>
          </a:xfrm>
        </p:grpSpPr>
        <p:sp>
          <p:nvSpPr>
            <p:cNvPr id="34831"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2" name="Line 43"/>
            <p:cNvSpPr>
              <a:spLocks noChangeShapeType="1"/>
            </p:cNvSpPr>
            <p:nvPr userDrawn="1"/>
          </p:nvSpPr>
          <p:spPr bwMode="auto">
            <a:xfrm rot="5400000">
              <a:off x="-79"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3" name="Line 44"/>
            <p:cNvSpPr>
              <a:spLocks noChangeShapeType="1"/>
            </p:cNvSpPr>
            <p:nvPr userDrawn="1"/>
          </p:nvSpPr>
          <p:spPr bwMode="auto">
            <a:xfrm rot="5400000">
              <a:off x="-79"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4" name="Line 45"/>
            <p:cNvSpPr>
              <a:spLocks noChangeShapeType="1"/>
            </p:cNvSpPr>
            <p:nvPr userDrawn="1"/>
          </p:nvSpPr>
          <p:spPr bwMode="auto">
            <a:xfrm rot="5400000">
              <a:off x="-79"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5" name="Line 46"/>
            <p:cNvSpPr>
              <a:spLocks noChangeShapeType="1"/>
            </p:cNvSpPr>
            <p:nvPr userDrawn="1"/>
          </p:nvSpPr>
          <p:spPr bwMode="auto">
            <a:xfrm rot="5400000">
              <a:off x="-79"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6" name="Line 47"/>
            <p:cNvSpPr>
              <a:spLocks noChangeShapeType="1"/>
            </p:cNvSpPr>
            <p:nvPr userDrawn="1"/>
          </p:nvSpPr>
          <p:spPr bwMode="auto">
            <a:xfrm rot="5400000">
              <a:off x="-79"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7"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8"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39"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0"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1" name="Line 52"/>
            <p:cNvSpPr>
              <a:spLocks noChangeShapeType="1"/>
            </p:cNvSpPr>
            <p:nvPr userDrawn="1"/>
          </p:nvSpPr>
          <p:spPr bwMode="auto">
            <a:xfrm rot="5400000">
              <a:off x="5838"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2" name="Line 53"/>
            <p:cNvSpPr>
              <a:spLocks noChangeShapeType="1"/>
            </p:cNvSpPr>
            <p:nvPr userDrawn="1"/>
          </p:nvSpPr>
          <p:spPr bwMode="auto">
            <a:xfrm rot="5400000">
              <a:off x="5838"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3" name="Line 54"/>
            <p:cNvSpPr>
              <a:spLocks noChangeShapeType="1"/>
            </p:cNvSpPr>
            <p:nvPr userDrawn="1"/>
          </p:nvSpPr>
          <p:spPr bwMode="auto">
            <a:xfrm rot="5400000">
              <a:off x="5838"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4" name="Line 55"/>
            <p:cNvSpPr>
              <a:spLocks noChangeShapeType="1"/>
            </p:cNvSpPr>
            <p:nvPr userDrawn="1"/>
          </p:nvSpPr>
          <p:spPr bwMode="auto">
            <a:xfrm rot="5400000">
              <a:off x="5838"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5" name="Line 56"/>
            <p:cNvSpPr>
              <a:spLocks noChangeShapeType="1"/>
            </p:cNvSpPr>
            <p:nvPr userDrawn="1"/>
          </p:nvSpPr>
          <p:spPr bwMode="auto">
            <a:xfrm rot="5400000">
              <a:off x="5838"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6" name="Line 57"/>
            <p:cNvSpPr>
              <a:spLocks noChangeShapeType="1"/>
            </p:cNvSpPr>
            <p:nvPr userDrawn="1"/>
          </p:nvSpPr>
          <p:spPr bwMode="auto">
            <a:xfrm rot="5400000">
              <a:off x="5838"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4847"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4822"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4823"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4824"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4825"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4826"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4827"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4828"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4829"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4830"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152" r:id="rId1"/>
    <p:sldLayoutId id="2147491153" r:id="rId2"/>
    <p:sldLayoutId id="2147491154" r:id="rId3"/>
    <p:sldLayoutId id="2147491155" r:id="rId4"/>
    <p:sldLayoutId id="2147491156" r:id="rId5"/>
    <p:sldLayoutId id="2147491157" r:id="rId6"/>
    <p:sldLayoutId id="2147491158" r:id="rId7"/>
    <p:sldLayoutId id="2147491159" r:id="rId8"/>
    <p:sldLayoutId id="2147491160" r:id="rId9"/>
  </p:sldLayoutIdLst>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itchFamily="34" charset="0"/>
        </a:defRPr>
      </a:lvl2pPr>
      <a:lvl3pPr algn="l" rtl="0" eaLnBrk="0" fontAlgn="base" hangingPunct="0">
        <a:spcBef>
          <a:spcPct val="0"/>
        </a:spcBef>
        <a:spcAft>
          <a:spcPct val="0"/>
        </a:spcAft>
        <a:defRPr sz="3200">
          <a:solidFill>
            <a:srgbClr val="FFFFFF"/>
          </a:solidFill>
          <a:latin typeface="Calibri" pitchFamily="34" charset="0"/>
        </a:defRPr>
      </a:lvl3pPr>
      <a:lvl4pPr algn="l" rtl="0" eaLnBrk="0" fontAlgn="base" hangingPunct="0">
        <a:spcBef>
          <a:spcPct val="0"/>
        </a:spcBef>
        <a:spcAft>
          <a:spcPct val="0"/>
        </a:spcAft>
        <a:defRPr sz="3200">
          <a:solidFill>
            <a:srgbClr val="FFFFFF"/>
          </a:solidFill>
          <a:latin typeface="Calibri" pitchFamily="34" charset="0"/>
        </a:defRPr>
      </a:lvl4pPr>
      <a:lvl5pPr algn="l" rtl="0" eaLnBrk="0" fontAlgn="base" hangingPunct="0">
        <a:spcBef>
          <a:spcPct val="0"/>
        </a:spcBef>
        <a:spcAft>
          <a:spcPct val="0"/>
        </a:spcAft>
        <a:defRPr sz="3200">
          <a:solidFill>
            <a:srgbClr val="FFFFFF"/>
          </a:solidFill>
          <a:latin typeface="Calibri" pitchFamily="34" charset="0"/>
        </a:defRPr>
      </a:lvl5pPr>
      <a:lvl6pPr marL="457200" algn="l" rtl="0" fontAlgn="base">
        <a:spcBef>
          <a:spcPct val="0"/>
        </a:spcBef>
        <a:spcAft>
          <a:spcPct val="0"/>
        </a:spcAft>
        <a:defRPr sz="3200">
          <a:solidFill>
            <a:srgbClr val="FFFFFF"/>
          </a:solidFill>
          <a:latin typeface="Calibri" pitchFamily="34" charset="0"/>
        </a:defRPr>
      </a:lvl6pPr>
      <a:lvl7pPr marL="914400" algn="l" rtl="0" fontAlgn="base">
        <a:spcBef>
          <a:spcPct val="0"/>
        </a:spcBef>
        <a:spcAft>
          <a:spcPct val="0"/>
        </a:spcAft>
        <a:defRPr sz="3200">
          <a:solidFill>
            <a:srgbClr val="FFFFFF"/>
          </a:solidFill>
          <a:latin typeface="Calibri" pitchFamily="34" charset="0"/>
        </a:defRPr>
      </a:lvl7pPr>
      <a:lvl8pPr marL="1371600" algn="l" rtl="0" fontAlgn="base">
        <a:spcBef>
          <a:spcPct val="0"/>
        </a:spcBef>
        <a:spcAft>
          <a:spcPct val="0"/>
        </a:spcAft>
        <a:defRPr sz="3200">
          <a:solidFill>
            <a:srgbClr val="FFFFFF"/>
          </a:solidFill>
          <a:latin typeface="Calibri" pitchFamily="34" charset="0"/>
        </a:defRPr>
      </a:lvl8pPr>
      <a:lvl9pPr marL="1828800" algn="l" rtl="0" fontAlgn="base">
        <a:spcBef>
          <a:spcPct val="0"/>
        </a:spcBef>
        <a:spcAft>
          <a:spcPct val="0"/>
        </a:spcAft>
        <a:defRPr sz="3200">
          <a:solidFill>
            <a:srgbClr val="FFFFFF"/>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5842" name="Object 6" hidden="1"/>
          <p:cNvGraphicFramePr>
            <a:graphicFrameLocks noChangeAspect="1"/>
          </p:cNvGraphicFramePr>
          <p:nvPr>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0" name="think-cell Slide" r:id="rId18" imgW="270" imgH="270" progId="">
                  <p:embed/>
                </p:oleObj>
              </mc:Choice>
              <mc:Fallback>
                <p:oleObj name="think-cell Slide" r:id="rId18" imgW="270" imgH="270" progId="">
                  <p:embed/>
                  <p:pic>
                    <p:nvPicPr>
                      <p:cNvPr id="0" name="Object 6"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3"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endParaRPr lang="en-US" altLang="fr-FR" smtClean="0"/>
          </a:p>
        </p:txBody>
      </p:sp>
      <p:sp>
        <p:nvSpPr>
          <p:cNvPr id="35844"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endParaRPr lang="en-US" altLang="fr-FR"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rgbClr val="000000">
                    <a:tint val="75000"/>
                  </a:srgbClr>
                </a:solidFill>
                <a:latin typeface="+mn-lt"/>
                <a:cs typeface="+mn-cs"/>
              </a:defRPr>
            </a:lvl1pPr>
          </a:lstStyle>
          <a:p>
            <a:pPr>
              <a:defRPr/>
            </a:pPr>
            <a:fld id="{8D191088-1B33-4714-AC13-B8F65107EA26}" type="datetimeFigureOut">
              <a:rPr lang="fr-FR"/>
              <a:pPr>
                <a:defRPr/>
              </a:pPr>
              <a:t>27/09/2018</a:t>
            </a:fld>
            <a:endParaRPr lang="fr-F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rgbClr val="000000">
                    <a:tint val="75000"/>
                  </a:srgbClr>
                </a:solidFill>
                <a:latin typeface="+mn-lt"/>
                <a:cs typeface="+mn-cs"/>
              </a:defRPr>
            </a:lvl1pPr>
          </a:lstStyle>
          <a:p>
            <a:pPr>
              <a:defRPr/>
            </a:pPr>
            <a:endParaRPr lang="fr-F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Simplified Arabic" panose="02020603050405020304" pitchFamily="18" charset="-78"/>
                <a:cs typeface="Simplified Arabic" panose="02020603050405020304" pitchFamily="18" charset="-78"/>
              </a:defRPr>
            </a:lvl1pPr>
          </a:lstStyle>
          <a:p>
            <a:pPr>
              <a:defRPr/>
            </a:pPr>
            <a:fld id="{447F4FF4-2BD7-4BD9-97A6-835356907F81}" type="slidenum">
              <a:rPr lang="fr-FR" altLang="fr-FR"/>
              <a:pPr>
                <a:defRPr/>
              </a:pPr>
              <a:t>‹N°›</a:t>
            </a:fld>
            <a:endParaRPr lang="fr-FR" altLang="fr-FR"/>
          </a:p>
        </p:txBody>
      </p:sp>
    </p:spTree>
  </p:cSld>
  <p:clrMap bg1="lt1" tx1="dk1" bg2="lt2" tx2="dk2" accent1="accent1" accent2="accent2" accent3="accent3" accent4="accent4" accent5="accent5" accent6="accent6" hlink="hlink" folHlink="folHlink"/>
  <p:sldLayoutIdLst>
    <p:sldLayoutId id="2147491161" r:id="rId1"/>
    <p:sldLayoutId id="2147491162" r:id="rId2"/>
    <p:sldLayoutId id="2147491163" r:id="rId3"/>
    <p:sldLayoutId id="2147491164" r:id="rId4"/>
    <p:sldLayoutId id="2147491165" r:id="rId5"/>
    <p:sldLayoutId id="2147491166" r:id="rId6"/>
    <p:sldLayoutId id="2147491167" r:id="rId7"/>
    <p:sldLayoutId id="2147491168" r:id="rId8"/>
    <p:sldLayoutId id="2147491169" r:id="rId9"/>
    <p:sldLayoutId id="2147491170" r:id="rId10"/>
    <p:sldLayoutId id="2147491171" r:id="rId11"/>
    <p:sldLayoutId id="2147491172" r:id="rId12"/>
    <p:sldLayoutId id="2147491173" r:id="rId13"/>
    <p:sldLayoutId id="2147491174" r:id="rId1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2pPr>
      <a:lvl3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3pPr>
      <a:lvl4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4pPr>
      <a:lvl5pPr algn="ctr" rtl="0" eaLnBrk="0" fontAlgn="base" hangingPunct="0">
        <a:spcBef>
          <a:spcPct val="0"/>
        </a:spcBef>
        <a:spcAft>
          <a:spcPct val="0"/>
        </a:spcAft>
        <a:defRPr sz="4400">
          <a:solidFill>
            <a:schemeClr val="tx1"/>
          </a:solidFill>
          <a:latin typeface="Simplified Arabic" pitchFamily="18" charset="-78"/>
          <a:cs typeface="Simplified Arabic" pitchFamily="18" charset="-78"/>
        </a:defRPr>
      </a:lvl5pPr>
      <a:lvl6pPr marL="457200" algn="ctr" rtl="0" eaLnBrk="1" fontAlgn="base" hangingPunct="1">
        <a:spcBef>
          <a:spcPct val="0"/>
        </a:spcBef>
        <a:spcAft>
          <a:spcPct val="0"/>
        </a:spcAft>
        <a:defRPr sz="4400">
          <a:solidFill>
            <a:schemeClr val="tx1"/>
          </a:solidFill>
          <a:latin typeface="Arial" pitchFamily="34" charset="0"/>
        </a:defRPr>
      </a:lvl6pPr>
      <a:lvl7pPr marL="914400" algn="ctr" rtl="0" eaLnBrk="1" fontAlgn="base" hangingPunct="1">
        <a:spcBef>
          <a:spcPct val="0"/>
        </a:spcBef>
        <a:spcAft>
          <a:spcPct val="0"/>
        </a:spcAft>
        <a:defRPr sz="4400">
          <a:solidFill>
            <a:schemeClr val="tx1"/>
          </a:solidFill>
          <a:latin typeface="Arial" pitchFamily="34" charset="0"/>
        </a:defRPr>
      </a:lvl7pPr>
      <a:lvl8pPr marL="1371600" algn="ctr" rtl="0" eaLnBrk="1" fontAlgn="base" hangingPunct="1">
        <a:spcBef>
          <a:spcPct val="0"/>
        </a:spcBef>
        <a:spcAft>
          <a:spcPct val="0"/>
        </a:spcAft>
        <a:defRPr sz="4400">
          <a:solidFill>
            <a:schemeClr val="tx1"/>
          </a:solidFill>
          <a:latin typeface="Arial" pitchFamily="34" charset="0"/>
        </a:defRPr>
      </a:lvl8pPr>
      <a:lvl9pPr marL="1828800" algn="ctr" rtl="0" eaLnBrk="1" fontAlgn="base" hangingPunct="1">
        <a:spcBef>
          <a:spcPct val="0"/>
        </a:spcBef>
        <a:spcAft>
          <a:spcPct val="0"/>
        </a:spcAft>
        <a:defRPr sz="4400">
          <a:solidFill>
            <a:schemeClr val="tx1"/>
          </a:solidFill>
          <a:latin typeface="Arial"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6866" name="Image 6" descr="FOND-ACCEIUL.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7"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grpSp>
        <p:nvGrpSpPr>
          <p:cNvPr id="36868" name="Group 102"/>
          <p:cNvGrpSpPr>
            <a:grpSpLocks/>
          </p:cNvGrpSpPr>
          <p:nvPr/>
        </p:nvGrpSpPr>
        <p:grpSpPr bwMode="auto">
          <a:xfrm>
            <a:off x="-215900" y="-215900"/>
            <a:ext cx="9574213" cy="7289800"/>
            <a:chOff x="-136" y="-136"/>
            <a:chExt cx="6031" cy="4592"/>
          </a:xfrm>
        </p:grpSpPr>
        <p:sp>
          <p:nvSpPr>
            <p:cNvPr id="36878"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79"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0"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1"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2"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3"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4"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5"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6"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7"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8"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89"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90"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91"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92"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93"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6894"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28677"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0</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119</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169</a:t>
            </a:r>
          </a:p>
        </p:txBody>
      </p:sp>
      <p:sp>
        <p:nvSpPr>
          <p:cNvPr id="28678"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169</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71</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135</a:t>
            </a:r>
          </a:p>
        </p:txBody>
      </p:sp>
      <p:sp>
        <p:nvSpPr>
          <p:cNvPr id="28679"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19</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15</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55</a:t>
            </a:r>
          </a:p>
        </p:txBody>
      </p:sp>
      <p:sp>
        <p:nvSpPr>
          <p:cNvPr id="28680"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R 137 G 146 B 155</a:t>
            </a:r>
          </a:p>
        </p:txBody>
      </p:sp>
      <p:sp>
        <p:nvSpPr>
          <p:cNvPr id="28681"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19</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15</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55</a:t>
            </a:r>
          </a:p>
        </p:txBody>
      </p:sp>
      <p:sp>
        <p:nvSpPr>
          <p:cNvPr id="28682"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19</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42</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49</a:t>
            </a:r>
          </a:p>
        </p:txBody>
      </p:sp>
      <p:sp>
        <p:nvSpPr>
          <p:cNvPr id="28683"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Arial Narrow" panose="020B0606020202030204" pitchFamily="34" charset="0"/>
              </a:rPr>
              <a:t>Couleurs Primaires</a:t>
            </a:r>
          </a:p>
        </p:txBody>
      </p:sp>
      <p:sp>
        <p:nvSpPr>
          <p:cNvPr id="28684"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Arial Narrow" panose="020B0606020202030204" pitchFamily="34" charset="0"/>
              </a:rPr>
              <a:t>Couleurs secondaires</a:t>
            </a:r>
          </a:p>
        </p:txBody>
      </p:sp>
      <p:sp>
        <p:nvSpPr>
          <p:cNvPr id="28685"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55</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55</a:t>
            </a:r>
          </a:p>
          <a:p>
            <a:pPr eaLnBrk="1" hangingPunct="1">
              <a:spcBef>
                <a:spcPct val="15000"/>
              </a:spcBef>
              <a:spcAft>
                <a:spcPct val="15000"/>
              </a:spcAft>
              <a:defRPr/>
            </a:pPr>
            <a:r>
              <a:rPr lang="en-US" altLang="fr-FR" sz="600" b="1" smtClean="0">
                <a:solidFill>
                  <a:srgbClr val="FFFFFF"/>
                </a:solidFill>
                <a:latin typeface="Arial Narrow" panose="020B0606020202030204" pitchFamily="34" charset="0"/>
              </a:rPr>
              <a:t>255</a:t>
            </a:r>
          </a:p>
        </p:txBody>
      </p:sp>
    </p:spTree>
  </p:cSld>
  <p:clrMap bg1="lt1" tx1="dk1" bg2="lt2" tx2="dk2" accent1="accent1" accent2="accent2" accent3="accent3" accent4="accent4" accent5="accent5" accent6="accent6" hlink="hlink" folHlink="folHlink"/>
  <p:sldLayoutIdLst>
    <p:sldLayoutId id="2147491057" r:id="rId1"/>
    <p:sldLayoutId id="2147491058" r:id="rId2"/>
    <p:sldLayoutId id="2147491059" r:id="rId3"/>
    <p:sldLayoutId id="2147491060" r:id="rId4"/>
    <p:sldLayoutId id="2147491061" r:id="rId5"/>
    <p:sldLayoutId id="2147491062" r:id="rId6"/>
    <p:sldLayoutId id="2147491063" r:id="rId7"/>
    <p:sldLayoutId id="2147491064" r:id="rId8"/>
    <p:sldLayoutId id="2147491065" r:id="rId9"/>
    <p:sldLayoutId id="2147491066" r:id="rId10"/>
    <p:sldLayoutId id="2147491067"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Narrow" panose="020B0606020202030204" pitchFamily="34" charset="0"/>
        </a:defRPr>
      </a:lvl2pPr>
      <a:lvl3pPr algn="ctr" rtl="0" eaLnBrk="0" fontAlgn="base" hangingPunct="0">
        <a:spcBef>
          <a:spcPct val="0"/>
        </a:spcBef>
        <a:spcAft>
          <a:spcPct val="0"/>
        </a:spcAft>
        <a:defRPr sz="4400">
          <a:solidFill>
            <a:schemeClr val="tx1"/>
          </a:solidFill>
          <a:latin typeface="Arial Narrow" panose="020B0606020202030204" pitchFamily="34" charset="0"/>
        </a:defRPr>
      </a:lvl3pPr>
      <a:lvl4pPr algn="ctr" rtl="0" eaLnBrk="0" fontAlgn="base" hangingPunct="0">
        <a:spcBef>
          <a:spcPct val="0"/>
        </a:spcBef>
        <a:spcAft>
          <a:spcPct val="0"/>
        </a:spcAft>
        <a:defRPr sz="4400">
          <a:solidFill>
            <a:schemeClr val="tx1"/>
          </a:solidFill>
          <a:latin typeface="Arial Narrow" panose="020B0606020202030204" pitchFamily="34" charset="0"/>
        </a:defRPr>
      </a:lvl4pPr>
      <a:lvl5pPr algn="ctr" rtl="0" eaLnBrk="0" fontAlgn="base" hangingPunct="0">
        <a:spcBef>
          <a:spcPct val="0"/>
        </a:spcBef>
        <a:spcAft>
          <a:spcPct val="0"/>
        </a:spcAft>
        <a:defRPr sz="4400">
          <a:solidFill>
            <a:schemeClr val="tx1"/>
          </a:solidFill>
          <a:latin typeface="Arial Narrow" panose="020B0606020202030204" pitchFamily="34" charset="0"/>
        </a:defRPr>
      </a:lvl5pPr>
      <a:lvl6pPr marL="457200" algn="ctr" rtl="0" fontAlgn="base">
        <a:spcBef>
          <a:spcPct val="0"/>
        </a:spcBef>
        <a:spcAft>
          <a:spcPct val="0"/>
        </a:spcAft>
        <a:defRPr sz="4400">
          <a:solidFill>
            <a:schemeClr val="tx1"/>
          </a:solidFill>
          <a:latin typeface="Arial Narrow" panose="020B0606020202030204" pitchFamily="34" charset="0"/>
        </a:defRPr>
      </a:lvl6pPr>
      <a:lvl7pPr marL="914400" algn="ctr" rtl="0" fontAlgn="base">
        <a:spcBef>
          <a:spcPct val="0"/>
        </a:spcBef>
        <a:spcAft>
          <a:spcPct val="0"/>
        </a:spcAft>
        <a:defRPr sz="4400">
          <a:solidFill>
            <a:schemeClr val="tx1"/>
          </a:solidFill>
          <a:latin typeface="Arial Narrow" panose="020B0606020202030204" pitchFamily="34" charset="0"/>
        </a:defRPr>
      </a:lvl7pPr>
      <a:lvl8pPr marL="1371600" algn="ctr" rtl="0" fontAlgn="base">
        <a:spcBef>
          <a:spcPct val="0"/>
        </a:spcBef>
        <a:spcAft>
          <a:spcPct val="0"/>
        </a:spcAft>
        <a:defRPr sz="4400">
          <a:solidFill>
            <a:schemeClr val="tx1"/>
          </a:solidFill>
          <a:latin typeface="Arial Narrow" panose="020B0606020202030204" pitchFamily="34" charset="0"/>
        </a:defRPr>
      </a:lvl8pPr>
      <a:lvl9pPr marL="1828800" algn="ctr" rtl="0" fontAlgn="base">
        <a:spcBef>
          <a:spcPct val="0"/>
        </a:spcBef>
        <a:spcAft>
          <a:spcPct val="0"/>
        </a:spcAft>
        <a:defRPr sz="4400">
          <a:solidFill>
            <a:schemeClr val="tx1"/>
          </a:solidFill>
          <a:latin typeface="Arial Narrow" panose="020B0606020202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7890" name="Image 6" descr="INTER-general.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1"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7892"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37893" name="Group 102"/>
          <p:cNvGrpSpPr>
            <a:grpSpLocks/>
          </p:cNvGrpSpPr>
          <p:nvPr/>
        </p:nvGrpSpPr>
        <p:grpSpPr bwMode="auto">
          <a:xfrm>
            <a:off x="-215900" y="-215900"/>
            <a:ext cx="9574213" cy="7289800"/>
            <a:chOff x="-136" y="-136"/>
            <a:chExt cx="6031" cy="4592"/>
          </a:xfrm>
        </p:grpSpPr>
        <p:sp>
          <p:nvSpPr>
            <p:cNvPr id="37904"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05" name="Line 43"/>
            <p:cNvSpPr>
              <a:spLocks noChangeShapeType="1"/>
            </p:cNvSpPr>
            <p:nvPr userDrawn="1"/>
          </p:nvSpPr>
          <p:spPr bwMode="auto">
            <a:xfrm rot="5400000">
              <a:off x="-79"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06" name="Line 44"/>
            <p:cNvSpPr>
              <a:spLocks noChangeShapeType="1"/>
            </p:cNvSpPr>
            <p:nvPr userDrawn="1"/>
          </p:nvSpPr>
          <p:spPr bwMode="auto">
            <a:xfrm rot="5400000">
              <a:off x="-79"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07" name="Line 45"/>
            <p:cNvSpPr>
              <a:spLocks noChangeShapeType="1"/>
            </p:cNvSpPr>
            <p:nvPr userDrawn="1"/>
          </p:nvSpPr>
          <p:spPr bwMode="auto">
            <a:xfrm rot="5400000">
              <a:off x="-79"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08" name="Line 46"/>
            <p:cNvSpPr>
              <a:spLocks noChangeShapeType="1"/>
            </p:cNvSpPr>
            <p:nvPr userDrawn="1"/>
          </p:nvSpPr>
          <p:spPr bwMode="auto">
            <a:xfrm rot="5400000">
              <a:off x="-79"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09" name="Line 47"/>
            <p:cNvSpPr>
              <a:spLocks noChangeShapeType="1"/>
            </p:cNvSpPr>
            <p:nvPr userDrawn="1"/>
          </p:nvSpPr>
          <p:spPr bwMode="auto">
            <a:xfrm rot="5400000">
              <a:off x="-79"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0"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1"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2"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3"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4" name="Line 52"/>
            <p:cNvSpPr>
              <a:spLocks noChangeShapeType="1"/>
            </p:cNvSpPr>
            <p:nvPr userDrawn="1"/>
          </p:nvSpPr>
          <p:spPr bwMode="auto">
            <a:xfrm rot="5400000">
              <a:off x="5838"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5" name="Line 53"/>
            <p:cNvSpPr>
              <a:spLocks noChangeShapeType="1"/>
            </p:cNvSpPr>
            <p:nvPr userDrawn="1"/>
          </p:nvSpPr>
          <p:spPr bwMode="auto">
            <a:xfrm rot="5400000">
              <a:off x="5838"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6" name="Line 54"/>
            <p:cNvSpPr>
              <a:spLocks noChangeShapeType="1"/>
            </p:cNvSpPr>
            <p:nvPr userDrawn="1"/>
          </p:nvSpPr>
          <p:spPr bwMode="auto">
            <a:xfrm rot="5400000">
              <a:off x="5838"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7" name="Line 55"/>
            <p:cNvSpPr>
              <a:spLocks noChangeShapeType="1"/>
            </p:cNvSpPr>
            <p:nvPr userDrawn="1"/>
          </p:nvSpPr>
          <p:spPr bwMode="auto">
            <a:xfrm rot="5400000">
              <a:off x="5838"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8" name="Line 56"/>
            <p:cNvSpPr>
              <a:spLocks noChangeShapeType="1"/>
            </p:cNvSpPr>
            <p:nvPr userDrawn="1"/>
          </p:nvSpPr>
          <p:spPr bwMode="auto">
            <a:xfrm rot="5400000">
              <a:off x="5838"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19" name="Line 57"/>
            <p:cNvSpPr>
              <a:spLocks noChangeShapeType="1"/>
            </p:cNvSpPr>
            <p:nvPr userDrawn="1"/>
          </p:nvSpPr>
          <p:spPr bwMode="auto">
            <a:xfrm rot="5400000">
              <a:off x="5838"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7920"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7894"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7895"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7896"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7897"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7898"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7899"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7900"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7901"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7902"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pic>
        <p:nvPicPr>
          <p:cNvPr id="37903" name="Image 3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551613" y="6459538"/>
            <a:ext cx="259238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1068" r:id="rId1"/>
    <p:sldLayoutId id="2147491175" r:id="rId2"/>
    <p:sldLayoutId id="2147491069" r:id="rId3"/>
    <p:sldLayoutId id="2147491070" r:id="rId4"/>
    <p:sldLayoutId id="2147491071" r:id="rId5"/>
    <p:sldLayoutId id="2147491176" r:id="rId6"/>
    <p:sldLayoutId id="2147491072" r:id="rId7"/>
    <p:sldLayoutId id="2147491073" r:id="rId8"/>
    <p:sldLayoutId id="2147491177" r:id="rId9"/>
    <p:sldLayoutId id="2147491178" r:id="rId10"/>
    <p:sldLayoutId id="2147491179" r:id="rId11"/>
    <p:sldLayoutId id="2147491180" r:id="rId12"/>
  </p:sldLayoutIdLst>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itchFamily="34" charset="0"/>
        </a:defRPr>
      </a:lvl2pPr>
      <a:lvl3pPr algn="l" rtl="0" eaLnBrk="0" fontAlgn="base" hangingPunct="0">
        <a:spcBef>
          <a:spcPct val="0"/>
        </a:spcBef>
        <a:spcAft>
          <a:spcPct val="0"/>
        </a:spcAft>
        <a:defRPr sz="3200">
          <a:solidFill>
            <a:srgbClr val="FFFFFF"/>
          </a:solidFill>
          <a:latin typeface="Calibri" pitchFamily="34" charset="0"/>
        </a:defRPr>
      </a:lvl3pPr>
      <a:lvl4pPr algn="l" rtl="0" eaLnBrk="0" fontAlgn="base" hangingPunct="0">
        <a:spcBef>
          <a:spcPct val="0"/>
        </a:spcBef>
        <a:spcAft>
          <a:spcPct val="0"/>
        </a:spcAft>
        <a:defRPr sz="3200">
          <a:solidFill>
            <a:srgbClr val="FFFFFF"/>
          </a:solidFill>
          <a:latin typeface="Calibri" pitchFamily="34" charset="0"/>
        </a:defRPr>
      </a:lvl4pPr>
      <a:lvl5pPr algn="l" rtl="0" eaLnBrk="0" fontAlgn="base" hangingPunct="0">
        <a:spcBef>
          <a:spcPct val="0"/>
        </a:spcBef>
        <a:spcAft>
          <a:spcPct val="0"/>
        </a:spcAft>
        <a:defRPr sz="3200">
          <a:solidFill>
            <a:srgbClr val="FFFFFF"/>
          </a:solidFill>
          <a:latin typeface="Calibri" pitchFamily="34" charset="0"/>
        </a:defRPr>
      </a:lvl5pPr>
      <a:lvl6pPr marL="457200" algn="l" rtl="0" fontAlgn="base">
        <a:spcBef>
          <a:spcPct val="0"/>
        </a:spcBef>
        <a:spcAft>
          <a:spcPct val="0"/>
        </a:spcAft>
        <a:defRPr sz="3200">
          <a:solidFill>
            <a:srgbClr val="FFFFFF"/>
          </a:solidFill>
          <a:latin typeface="Calibri" pitchFamily="34" charset="0"/>
        </a:defRPr>
      </a:lvl6pPr>
      <a:lvl7pPr marL="914400" algn="l" rtl="0" fontAlgn="base">
        <a:spcBef>
          <a:spcPct val="0"/>
        </a:spcBef>
        <a:spcAft>
          <a:spcPct val="0"/>
        </a:spcAft>
        <a:defRPr sz="3200">
          <a:solidFill>
            <a:srgbClr val="FFFFFF"/>
          </a:solidFill>
          <a:latin typeface="Calibri" pitchFamily="34" charset="0"/>
        </a:defRPr>
      </a:lvl7pPr>
      <a:lvl8pPr marL="1371600" algn="l" rtl="0" fontAlgn="base">
        <a:spcBef>
          <a:spcPct val="0"/>
        </a:spcBef>
        <a:spcAft>
          <a:spcPct val="0"/>
        </a:spcAft>
        <a:defRPr sz="3200">
          <a:solidFill>
            <a:srgbClr val="FFFFFF"/>
          </a:solidFill>
          <a:latin typeface="Calibri" pitchFamily="34" charset="0"/>
        </a:defRPr>
      </a:lvl8pPr>
      <a:lvl9pPr marL="1828800" algn="l" rtl="0" fontAlgn="base">
        <a:spcBef>
          <a:spcPct val="0"/>
        </a:spcBef>
        <a:spcAft>
          <a:spcPct val="0"/>
        </a:spcAft>
        <a:defRPr sz="3200">
          <a:solidFill>
            <a:srgbClr val="FFFFFF"/>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8914" name="Image 6" descr="INTER-general.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5"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8916"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38917" name="Group 102"/>
          <p:cNvGrpSpPr>
            <a:grpSpLocks/>
          </p:cNvGrpSpPr>
          <p:nvPr/>
        </p:nvGrpSpPr>
        <p:grpSpPr bwMode="auto">
          <a:xfrm>
            <a:off x="-215900" y="-215900"/>
            <a:ext cx="9574213" cy="7289800"/>
            <a:chOff x="-136" y="-136"/>
            <a:chExt cx="6031" cy="4592"/>
          </a:xfrm>
        </p:grpSpPr>
        <p:sp>
          <p:nvSpPr>
            <p:cNvPr id="38927"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28" name="Line 43"/>
            <p:cNvSpPr>
              <a:spLocks noChangeShapeType="1"/>
            </p:cNvSpPr>
            <p:nvPr userDrawn="1"/>
          </p:nvSpPr>
          <p:spPr bwMode="auto">
            <a:xfrm rot="5400000">
              <a:off x="-7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29" name="Line 44"/>
            <p:cNvSpPr>
              <a:spLocks noChangeShapeType="1"/>
            </p:cNvSpPr>
            <p:nvPr userDrawn="1"/>
          </p:nvSpPr>
          <p:spPr bwMode="auto">
            <a:xfrm rot="5400000">
              <a:off x="-7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0" name="Line 45"/>
            <p:cNvSpPr>
              <a:spLocks noChangeShapeType="1"/>
            </p:cNvSpPr>
            <p:nvPr userDrawn="1"/>
          </p:nvSpPr>
          <p:spPr bwMode="auto">
            <a:xfrm rot="5400000">
              <a:off x="-7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1" name="Line 46"/>
            <p:cNvSpPr>
              <a:spLocks noChangeShapeType="1"/>
            </p:cNvSpPr>
            <p:nvPr userDrawn="1"/>
          </p:nvSpPr>
          <p:spPr bwMode="auto">
            <a:xfrm rot="5400000">
              <a:off x="-7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2" name="Line 47"/>
            <p:cNvSpPr>
              <a:spLocks noChangeShapeType="1"/>
            </p:cNvSpPr>
            <p:nvPr userDrawn="1"/>
          </p:nvSpPr>
          <p:spPr bwMode="auto">
            <a:xfrm rot="5400000">
              <a:off x="-7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3"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4"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5"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6"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7" name="Line 52"/>
            <p:cNvSpPr>
              <a:spLocks noChangeShapeType="1"/>
            </p:cNvSpPr>
            <p:nvPr userDrawn="1"/>
          </p:nvSpPr>
          <p:spPr bwMode="auto">
            <a:xfrm rot="5400000">
              <a:off x="5839" y="29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8" name="Line 53"/>
            <p:cNvSpPr>
              <a:spLocks noChangeShapeType="1"/>
            </p:cNvSpPr>
            <p:nvPr userDrawn="1"/>
          </p:nvSpPr>
          <p:spPr bwMode="auto">
            <a:xfrm rot="5400000">
              <a:off x="5839" y="204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39" name="Line 54"/>
            <p:cNvSpPr>
              <a:spLocks noChangeShapeType="1"/>
            </p:cNvSpPr>
            <p:nvPr userDrawn="1"/>
          </p:nvSpPr>
          <p:spPr bwMode="auto">
            <a:xfrm rot="5400000">
              <a:off x="5839" y="4190"/>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40" name="Line 55"/>
            <p:cNvSpPr>
              <a:spLocks noChangeShapeType="1"/>
            </p:cNvSpPr>
            <p:nvPr userDrawn="1"/>
          </p:nvSpPr>
          <p:spPr bwMode="auto">
            <a:xfrm rot="5400000">
              <a:off x="5839" y="387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41" name="Line 56"/>
            <p:cNvSpPr>
              <a:spLocks noChangeShapeType="1"/>
            </p:cNvSpPr>
            <p:nvPr userDrawn="1"/>
          </p:nvSpPr>
          <p:spPr bwMode="auto">
            <a:xfrm rot="5400000">
              <a:off x="5839" y="2102"/>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42" name="Line 57"/>
            <p:cNvSpPr>
              <a:spLocks noChangeShapeType="1"/>
            </p:cNvSpPr>
            <p:nvPr userDrawn="1"/>
          </p:nvSpPr>
          <p:spPr bwMode="auto">
            <a:xfrm rot="5400000">
              <a:off x="583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8943"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0726"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0727"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0728"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0729"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0730"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0731"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0732"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0733"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0734"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Tree>
  </p:cSld>
  <p:clrMap bg1="lt1" tx1="dk1" bg2="lt2" tx2="dk2" accent1="accent1" accent2="accent2" accent3="accent3" accent4="accent4" accent5="accent5" accent6="accent6" hlink="hlink" folHlink="folHlink"/>
  <p:sldLayoutIdLst>
    <p:sldLayoutId id="2147491074" r:id="rId1"/>
    <p:sldLayoutId id="2147491075" r:id="rId2"/>
    <p:sldLayoutId id="2147491076" r:id="rId3"/>
    <p:sldLayoutId id="2147491077" r:id="rId4"/>
    <p:sldLayoutId id="2147491078" r:id="rId5"/>
    <p:sldLayoutId id="2147491181" r:id="rId6"/>
    <p:sldLayoutId id="2147491079" r:id="rId7"/>
    <p:sldLayoutId id="2147491080" r:id="rId8"/>
    <p:sldLayoutId id="2147491081" r:id="rId9"/>
    <p:sldLayoutId id="2147491182" r:id="rId10"/>
    <p:sldLayoutId id="2147491183" r:id="rId11"/>
  </p:sldLayoutIdLst>
  <p:transition spd="med">
    <p:fade/>
  </p:transition>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anose="020F0502020204030204" pitchFamily="34" charset="0"/>
        </a:defRPr>
      </a:lvl2pPr>
      <a:lvl3pPr algn="l" rtl="0" eaLnBrk="0" fontAlgn="base" hangingPunct="0">
        <a:spcBef>
          <a:spcPct val="0"/>
        </a:spcBef>
        <a:spcAft>
          <a:spcPct val="0"/>
        </a:spcAft>
        <a:defRPr sz="3200">
          <a:solidFill>
            <a:srgbClr val="FFFFFF"/>
          </a:solidFill>
          <a:latin typeface="Calibri" panose="020F0502020204030204" pitchFamily="34" charset="0"/>
        </a:defRPr>
      </a:lvl3pPr>
      <a:lvl4pPr algn="l" rtl="0" eaLnBrk="0" fontAlgn="base" hangingPunct="0">
        <a:spcBef>
          <a:spcPct val="0"/>
        </a:spcBef>
        <a:spcAft>
          <a:spcPct val="0"/>
        </a:spcAft>
        <a:defRPr sz="3200">
          <a:solidFill>
            <a:srgbClr val="FFFFFF"/>
          </a:solidFill>
          <a:latin typeface="Calibri" panose="020F0502020204030204" pitchFamily="34" charset="0"/>
        </a:defRPr>
      </a:lvl4pPr>
      <a:lvl5pPr algn="l" rtl="0" eaLnBrk="0" fontAlgn="base" hangingPunct="0">
        <a:spcBef>
          <a:spcPct val="0"/>
        </a:spcBef>
        <a:spcAft>
          <a:spcPct val="0"/>
        </a:spcAft>
        <a:defRPr sz="3200">
          <a:solidFill>
            <a:srgbClr val="FFFFFF"/>
          </a:solidFill>
          <a:latin typeface="Calibri" panose="020F0502020204030204" pitchFamily="34" charset="0"/>
        </a:defRPr>
      </a:lvl5pPr>
      <a:lvl6pPr marL="457200" algn="l" rtl="0" fontAlgn="base">
        <a:spcBef>
          <a:spcPct val="0"/>
        </a:spcBef>
        <a:spcAft>
          <a:spcPct val="0"/>
        </a:spcAft>
        <a:defRPr sz="3200">
          <a:solidFill>
            <a:srgbClr val="FFFFFF"/>
          </a:solidFill>
          <a:latin typeface="Calibri" panose="020F0502020204030204" pitchFamily="34" charset="0"/>
        </a:defRPr>
      </a:lvl6pPr>
      <a:lvl7pPr marL="914400" algn="l" rtl="0" fontAlgn="base">
        <a:spcBef>
          <a:spcPct val="0"/>
        </a:spcBef>
        <a:spcAft>
          <a:spcPct val="0"/>
        </a:spcAft>
        <a:defRPr sz="3200">
          <a:solidFill>
            <a:srgbClr val="FFFFFF"/>
          </a:solidFill>
          <a:latin typeface="Calibri" panose="020F0502020204030204" pitchFamily="34" charset="0"/>
        </a:defRPr>
      </a:lvl7pPr>
      <a:lvl8pPr marL="1371600" algn="l" rtl="0" fontAlgn="base">
        <a:spcBef>
          <a:spcPct val="0"/>
        </a:spcBef>
        <a:spcAft>
          <a:spcPct val="0"/>
        </a:spcAft>
        <a:defRPr sz="3200">
          <a:solidFill>
            <a:srgbClr val="FFFFFF"/>
          </a:solidFill>
          <a:latin typeface="Calibri" panose="020F0502020204030204" pitchFamily="34" charset="0"/>
        </a:defRPr>
      </a:lvl8pPr>
      <a:lvl9pPr marL="1828800" algn="l" rtl="0" fontAlgn="base">
        <a:spcBef>
          <a:spcPct val="0"/>
        </a:spcBef>
        <a:spcAft>
          <a:spcPct val="0"/>
        </a:spcAft>
        <a:defRPr sz="3200">
          <a:solidFill>
            <a:srgbClr val="FFFFFF"/>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9938" name="Image 6" descr="INTER-general.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39940"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grpSp>
        <p:nvGrpSpPr>
          <p:cNvPr id="39941" name="Group 102"/>
          <p:cNvGrpSpPr>
            <a:grpSpLocks/>
          </p:cNvGrpSpPr>
          <p:nvPr/>
        </p:nvGrpSpPr>
        <p:grpSpPr bwMode="auto">
          <a:xfrm>
            <a:off x="-215900" y="-215900"/>
            <a:ext cx="9574213" cy="7289800"/>
            <a:chOff x="-136" y="-136"/>
            <a:chExt cx="6031" cy="4592"/>
          </a:xfrm>
        </p:grpSpPr>
        <p:sp>
          <p:nvSpPr>
            <p:cNvPr id="39952" name="Line 42"/>
            <p:cNvSpPr>
              <a:spLocks noChangeShapeType="1"/>
            </p:cNvSpPr>
            <p:nvPr userDrawn="1"/>
          </p:nvSpPr>
          <p:spPr bwMode="auto">
            <a:xfrm>
              <a:off x="158"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53" name="Line 43"/>
            <p:cNvSpPr>
              <a:spLocks noChangeShapeType="1"/>
            </p:cNvSpPr>
            <p:nvPr userDrawn="1"/>
          </p:nvSpPr>
          <p:spPr bwMode="auto">
            <a:xfrm rot="5400000">
              <a:off x="-79"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54" name="Line 44"/>
            <p:cNvSpPr>
              <a:spLocks noChangeShapeType="1"/>
            </p:cNvSpPr>
            <p:nvPr userDrawn="1"/>
          </p:nvSpPr>
          <p:spPr bwMode="auto">
            <a:xfrm rot="5400000">
              <a:off x="-79"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55" name="Line 45"/>
            <p:cNvSpPr>
              <a:spLocks noChangeShapeType="1"/>
            </p:cNvSpPr>
            <p:nvPr userDrawn="1"/>
          </p:nvSpPr>
          <p:spPr bwMode="auto">
            <a:xfrm rot="5400000">
              <a:off x="-79"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56" name="Line 46"/>
            <p:cNvSpPr>
              <a:spLocks noChangeShapeType="1"/>
            </p:cNvSpPr>
            <p:nvPr userDrawn="1"/>
          </p:nvSpPr>
          <p:spPr bwMode="auto">
            <a:xfrm rot="5400000">
              <a:off x="-79"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57" name="Line 47"/>
            <p:cNvSpPr>
              <a:spLocks noChangeShapeType="1"/>
            </p:cNvSpPr>
            <p:nvPr userDrawn="1"/>
          </p:nvSpPr>
          <p:spPr bwMode="auto">
            <a:xfrm rot="5400000">
              <a:off x="-79"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58" name="Line 48"/>
            <p:cNvSpPr>
              <a:spLocks noChangeShapeType="1"/>
            </p:cNvSpPr>
            <p:nvPr userDrawn="1"/>
          </p:nvSpPr>
          <p:spPr bwMode="auto">
            <a:xfrm rot="5400000">
              <a:off x="-79"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59" name="Line 49"/>
            <p:cNvSpPr>
              <a:spLocks noChangeShapeType="1"/>
            </p:cNvSpPr>
            <p:nvPr userDrawn="1"/>
          </p:nvSpPr>
          <p:spPr bwMode="auto">
            <a:xfrm>
              <a:off x="160"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0" name="Line 50"/>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1" name="Line 51"/>
            <p:cNvSpPr>
              <a:spLocks noChangeShapeType="1"/>
            </p:cNvSpPr>
            <p:nvPr userDrawn="1"/>
          </p:nvSpPr>
          <p:spPr bwMode="auto">
            <a:xfrm>
              <a:off x="5602" y="-136"/>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2" name="Line 52"/>
            <p:cNvSpPr>
              <a:spLocks noChangeShapeType="1"/>
            </p:cNvSpPr>
            <p:nvPr userDrawn="1"/>
          </p:nvSpPr>
          <p:spPr bwMode="auto">
            <a:xfrm rot="5400000">
              <a:off x="5838" y="29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3" name="Line 53"/>
            <p:cNvSpPr>
              <a:spLocks noChangeShapeType="1"/>
            </p:cNvSpPr>
            <p:nvPr userDrawn="1"/>
          </p:nvSpPr>
          <p:spPr bwMode="auto">
            <a:xfrm rot="5400000">
              <a:off x="5838" y="2047"/>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4" name="Line 54"/>
            <p:cNvSpPr>
              <a:spLocks noChangeShapeType="1"/>
            </p:cNvSpPr>
            <p:nvPr userDrawn="1"/>
          </p:nvSpPr>
          <p:spPr bwMode="auto">
            <a:xfrm rot="5400000">
              <a:off x="5838" y="4191"/>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5" name="Line 55"/>
            <p:cNvSpPr>
              <a:spLocks noChangeShapeType="1"/>
            </p:cNvSpPr>
            <p:nvPr userDrawn="1"/>
          </p:nvSpPr>
          <p:spPr bwMode="auto">
            <a:xfrm rot="5400000">
              <a:off x="5838" y="387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6" name="Line 56"/>
            <p:cNvSpPr>
              <a:spLocks noChangeShapeType="1"/>
            </p:cNvSpPr>
            <p:nvPr userDrawn="1"/>
          </p:nvSpPr>
          <p:spPr bwMode="auto">
            <a:xfrm rot="5400000">
              <a:off x="5838" y="210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7" name="Line 57"/>
            <p:cNvSpPr>
              <a:spLocks noChangeShapeType="1"/>
            </p:cNvSpPr>
            <p:nvPr userDrawn="1"/>
          </p:nvSpPr>
          <p:spPr bwMode="auto">
            <a:xfrm rot="5400000">
              <a:off x="5838" y="1285"/>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39968" name="Line 58"/>
            <p:cNvSpPr>
              <a:spLocks noChangeShapeType="1"/>
            </p:cNvSpPr>
            <p:nvPr userDrawn="1"/>
          </p:nvSpPr>
          <p:spPr bwMode="auto">
            <a:xfrm>
              <a:off x="5602" y="4343"/>
              <a:ext cx="0" cy="11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fr-FR"/>
            </a:p>
          </p:txBody>
        </p:sp>
      </p:grpSp>
      <p:sp>
        <p:nvSpPr>
          <p:cNvPr id="39942" name="AutoShape 91"/>
          <p:cNvSpPr>
            <a:spLocks noChangeArrowheads="1"/>
          </p:cNvSpPr>
          <p:nvPr/>
        </p:nvSpPr>
        <p:spPr bwMode="auto">
          <a:xfrm>
            <a:off x="1474788" y="6894513"/>
            <a:ext cx="287337" cy="179387"/>
          </a:xfrm>
          <a:prstGeom prst="roundRect">
            <a:avLst>
              <a:gd name="adj" fmla="val 16667"/>
            </a:avLst>
          </a:prstGeom>
          <a:solidFill>
            <a:srgbClr val="0077A8"/>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0</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p:txBody>
      </p:sp>
      <p:sp>
        <p:nvSpPr>
          <p:cNvPr id="39943" name="AutoShape 93"/>
          <p:cNvSpPr>
            <a:spLocks noChangeArrowheads="1"/>
          </p:cNvSpPr>
          <p:nvPr/>
        </p:nvSpPr>
        <p:spPr bwMode="auto">
          <a:xfrm>
            <a:off x="2195513" y="6894513"/>
            <a:ext cx="287337" cy="179387"/>
          </a:xfrm>
          <a:prstGeom prst="roundRect">
            <a:avLst>
              <a:gd name="adj" fmla="val 16667"/>
            </a:avLst>
          </a:prstGeom>
          <a:solidFill>
            <a:srgbClr val="A94787"/>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6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71</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135</a:t>
            </a:r>
          </a:p>
        </p:txBody>
      </p:sp>
      <p:sp>
        <p:nvSpPr>
          <p:cNvPr id="39944" name="AutoShape 94"/>
          <p:cNvSpPr>
            <a:spLocks noChangeArrowheads="1"/>
          </p:cNvSpPr>
          <p:nvPr/>
        </p:nvSpPr>
        <p:spPr bwMode="auto">
          <a:xfrm>
            <a:off x="1835150" y="6884988"/>
            <a:ext cx="287338" cy="179387"/>
          </a:xfrm>
          <a:prstGeom prst="roundRect">
            <a:avLst>
              <a:gd name="adj" fmla="val 16667"/>
            </a:avLst>
          </a:prstGeom>
          <a:solidFill>
            <a:srgbClr val="88A8C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9945" name="AutoShape 95"/>
          <p:cNvSpPr>
            <a:spLocks noChangeArrowheads="1"/>
          </p:cNvSpPr>
          <p:nvPr/>
        </p:nvSpPr>
        <p:spPr bwMode="auto">
          <a:xfrm>
            <a:off x="4354513" y="6894513"/>
            <a:ext cx="287337" cy="179387"/>
          </a:xfrm>
          <a:prstGeom prst="roundRect">
            <a:avLst>
              <a:gd name="adj" fmla="val 16667"/>
            </a:avLst>
          </a:prstGeom>
          <a:solidFill>
            <a:srgbClr val="89929B"/>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R 137 G 146 B 155</a:t>
            </a:r>
          </a:p>
        </p:txBody>
      </p:sp>
      <p:sp>
        <p:nvSpPr>
          <p:cNvPr id="39946" name="AutoShape 98"/>
          <p:cNvSpPr>
            <a:spLocks noChangeArrowheads="1"/>
          </p:cNvSpPr>
          <p:nvPr/>
        </p:nvSpPr>
        <p:spPr bwMode="auto">
          <a:xfrm>
            <a:off x="3994150" y="6894513"/>
            <a:ext cx="287338" cy="179387"/>
          </a:xfrm>
          <a:prstGeom prst="roundRect">
            <a:avLst>
              <a:gd name="adj" fmla="val 16667"/>
            </a:avLst>
          </a:prstGeom>
          <a:solidFill>
            <a:srgbClr val="DBD7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sp>
        <p:nvSpPr>
          <p:cNvPr id="39947" name="AutoShape 99"/>
          <p:cNvSpPr>
            <a:spLocks noChangeArrowheads="1"/>
          </p:cNvSpPr>
          <p:nvPr/>
        </p:nvSpPr>
        <p:spPr bwMode="auto">
          <a:xfrm>
            <a:off x="3635375" y="6894513"/>
            <a:ext cx="287338" cy="179387"/>
          </a:xfrm>
          <a:prstGeom prst="roundRect">
            <a:avLst>
              <a:gd name="adj" fmla="val 16667"/>
            </a:avLst>
          </a:prstGeom>
          <a:solidFill>
            <a:srgbClr val="DBF2F9"/>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19</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2</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49</a:t>
            </a:r>
          </a:p>
        </p:txBody>
      </p:sp>
      <p:sp>
        <p:nvSpPr>
          <p:cNvPr id="39948" name="Rectangle 100"/>
          <p:cNvSpPr>
            <a:spLocks noChangeArrowheads="1"/>
          </p:cNvSpPr>
          <p:nvPr/>
        </p:nvSpPr>
        <p:spPr bwMode="auto">
          <a:xfrm>
            <a:off x="647700" y="6894513"/>
            <a:ext cx="792163"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Primaires</a:t>
            </a:r>
          </a:p>
        </p:txBody>
      </p:sp>
      <p:sp>
        <p:nvSpPr>
          <p:cNvPr id="39949" name="Rectangle 101"/>
          <p:cNvSpPr>
            <a:spLocks noChangeArrowheads="1"/>
          </p:cNvSpPr>
          <p:nvPr/>
        </p:nvSpPr>
        <p:spPr bwMode="auto">
          <a:xfrm>
            <a:off x="2795588" y="6894513"/>
            <a:ext cx="792162"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0" rIns="36000" bIns="0" anchor="ctr"/>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15000"/>
              </a:spcBef>
              <a:spcAft>
                <a:spcPct val="15000"/>
              </a:spcAft>
              <a:defRPr/>
            </a:pPr>
            <a:r>
              <a:rPr lang="en-US" altLang="fr-FR" sz="600" b="1" smtClean="0">
                <a:solidFill>
                  <a:srgbClr val="FFFFFF"/>
                </a:solidFill>
                <a:latin typeface="Calibri" panose="020F0502020204030204" pitchFamily="34" charset="0"/>
              </a:rPr>
              <a:t>Couleurs secondaires</a:t>
            </a:r>
          </a:p>
        </p:txBody>
      </p:sp>
      <p:sp>
        <p:nvSpPr>
          <p:cNvPr id="39950" name="AutoShape 95"/>
          <p:cNvSpPr>
            <a:spLocks noChangeArrowheads="1"/>
          </p:cNvSpPr>
          <p:nvPr/>
        </p:nvSpPr>
        <p:spPr bwMode="auto">
          <a:xfrm>
            <a:off x="4716463" y="6884988"/>
            <a:ext cx="287337" cy="179387"/>
          </a:xfrm>
          <a:prstGeom prst="roundRect">
            <a:avLst>
              <a:gd name="adj" fmla="val 16667"/>
            </a:avLst>
          </a:prstGeom>
          <a:solidFill>
            <a:srgbClr val="FFFFFF"/>
          </a:solidFill>
          <a:ln w="9525">
            <a:solidFill>
              <a:schemeClr val="bg1"/>
            </a:solidFill>
            <a:round/>
            <a:headEnd/>
            <a:tailEnd/>
          </a:ln>
        </p:spPr>
        <p:txBody>
          <a:bodyPr lIns="18000" tIns="252000" rIns="18000" bIns="0"/>
          <a:lstStyle>
            <a:lvl1pPr defTabSz="762000">
              <a:defRPr>
                <a:solidFill>
                  <a:schemeClr val="tx1"/>
                </a:solidFill>
                <a:latin typeface="Arial" panose="020B0604020202020204" pitchFamily="34" charset="0"/>
                <a:cs typeface="Arial" panose="020B0604020202020204" pitchFamily="34" charset="0"/>
              </a:defRPr>
            </a:lvl1pPr>
            <a:lvl2pPr marL="742950" indent="-285750" defTabSz="762000">
              <a:defRPr>
                <a:solidFill>
                  <a:schemeClr val="tx1"/>
                </a:solidFill>
                <a:latin typeface="Arial" panose="020B0604020202020204" pitchFamily="34" charset="0"/>
                <a:cs typeface="Arial" panose="020B0604020202020204" pitchFamily="34" charset="0"/>
              </a:defRPr>
            </a:lvl2pPr>
            <a:lvl3pPr marL="1143000" indent="-228600" defTabSz="762000">
              <a:defRPr>
                <a:solidFill>
                  <a:schemeClr val="tx1"/>
                </a:solidFill>
                <a:latin typeface="Arial" panose="020B0604020202020204" pitchFamily="34" charset="0"/>
                <a:cs typeface="Arial" panose="020B0604020202020204" pitchFamily="34" charset="0"/>
              </a:defRPr>
            </a:lvl3pPr>
            <a:lvl4pPr marL="1600200" indent="-228600" defTabSz="762000">
              <a:defRPr>
                <a:solidFill>
                  <a:schemeClr val="tx1"/>
                </a:solidFill>
                <a:latin typeface="Arial" panose="020B0604020202020204" pitchFamily="34" charset="0"/>
                <a:cs typeface="Arial" panose="020B0604020202020204" pitchFamily="34" charset="0"/>
              </a:defRPr>
            </a:lvl4pPr>
            <a:lvl5pPr marL="2057400" indent="-228600" defTabSz="762000">
              <a:defRPr>
                <a:solidFill>
                  <a:schemeClr val="tx1"/>
                </a:solidFill>
                <a:latin typeface="Arial" panose="020B060402020202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a:p>
            <a:pPr eaLnBrk="1" hangingPunct="1">
              <a:spcBef>
                <a:spcPct val="15000"/>
              </a:spcBef>
              <a:spcAft>
                <a:spcPct val="15000"/>
              </a:spcAft>
              <a:defRPr/>
            </a:pPr>
            <a:r>
              <a:rPr lang="en-US" altLang="fr-FR" sz="600" b="1" smtClean="0">
                <a:solidFill>
                  <a:srgbClr val="FFFFFF"/>
                </a:solidFill>
                <a:latin typeface="Calibri" panose="020F0502020204030204" pitchFamily="34" charset="0"/>
              </a:rPr>
              <a:t>255</a:t>
            </a:r>
          </a:p>
        </p:txBody>
      </p:sp>
      <p:pic>
        <p:nvPicPr>
          <p:cNvPr id="39951" name="Image 3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6551613" y="6459538"/>
            <a:ext cx="2592387"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1082" r:id="rId1"/>
    <p:sldLayoutId id="2147491184" r:id="rId2"/>
    <p:sldLayoutId id="2147491083" r:id="rId3"/>
    <p:sldLayoutId id="2147491084" r:id="rId4"/>
    <p:sldLayoutId id="2147491085" r:id="rId5"/>
    <p:sldLayoutId id="2147491185" r:id="rId6"/>
    <p:sldLayoutId id="2147491086" r:id="rId7"/>
    <p:sldLayoutId id="2147491087" r:id="rId8"/>
    <p:sldLayoutId id="2147491186" r:id="rId9"/>
    <p:sldLayoutId id="2147491187" r:id="rId10"/>
    <p:sldLayoutId id="2147491188" r:id="rId11"/>
    <p:sldLayoutId id="2147491189" r:id="rId12"/>
  </p:sldLayoutIdLst>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alibri" pitchFamily="34" charset="0"/>
        </a:defRPr>
      </a:lvl2pPr>
      <a:lvl3pPr algn="l" rtl="0" eaLnBrk="0" fontAlgn="base" hangingPunct="0">
        <a:spcBef>
          <a:spcPct val="0"/>
        </a:spcBef>
        <a:spcAft>
          <a:spcPct val="0"/>
        </a:spcAft>
        <a:defRPr sz="3200">
          <a:solidFill>
            <a:srgbClr val="FFFFFF"/>
          </a:solidFill>
          <a:latin typeface="Calibri" pitchFamily="34" charset="0"/>
        </a:defRPr>
      </a:lvl3pPr>
      <a:lvl4pPr algn="l" rtl="0" eaLnBrk="0" fontAlgn="base" hangingPunct="0">
        <a:spcBef>
          <a:spcPct val="0"/>
        </a:spcBef>
        <a:spcAft>
          <a:spcPct val="0"/>
        </a:spcAft>
        <a:defRPr sz="3200">
          <a:solidFill>
            <a:srgbClr val="FFFFFF"/>
          </a:solidFill>
          <a:latin typeface="Calibri" pitchFamily="34" charset="0"/>
        </a:defRPr>
      </a:lvl4pPr>
      <a:lvl5pPr algn="l" rtl="0" eaLnBrk="0" fontAlgn="base" hangingPunct="0">
        <a:spcBef>
          <a:spcPct val="0"/>
        </a:spcBef>
        <a:spcAft>
          <a:spcPct val="0"/>
        </a:spcAft>
        <a:defRPr sz="3200">
          <a:solidFill>
            <a:srgbClr val="FFFFFF"/>
          </a:solidFill>
          <a:latin typeface="Calibri" pitchFamily="34" charset="0"/>
        </a:defRPr>
      </a:lvl5pPr>
      <a:lvl6pPr marL="457200" algn="l" rtl="0" fontAlgn="base">
        <a:spcBef>
          <a:spcPct val="0"/>
        </a:spcBef>
        <a:spcAft>
          <a:spcPct val="0"/>
        </a:spcAft>
        <a:defRPr sz="3200">
          <a:solidFill>
            <a:srgbClr val="FFFFFF"/>
          </a:solidFill>
          <a:latin typeface="Calibri" pitchFamily="34" charset="0"/>
        </a:defRPr>
      </a:lvl6pPr>
      <a:lvl7pPr marL="914400" algn="l" rtl="0" fontAlgn="base">
        <a:spcBef>
          <a:spcPct val="0"/>
        </a:spcBef>
        <a:spcAft>
          <a:spcPct val="0"/>
        </a:spcAft>
        <a:defRPr sz="3200">
          <a:solidFill>
            <a:srgbClr val="FFFFFF"/>
          </a:solidFill>
          <a:latin typeface="Calibri" pitchFamily="34" charset="0"/>
        </a:defRPr>
      </a:lvl7pPr>
      <a:lvl8pPr marL="1371600" algn="l" rtl="0" fontAlgn="base">
        <a:spcBef>
          <a:spcPct val="0"/>
        </a:spcBef>
        <a:spcAft>
          <a:spcPct val="0"/>
        </a:spcAft>
        <a:defRPr sz="3200">
          <a:solidFill>
            <a:srgbClr val="FFFFFF"/>
          </a:solidFill>
          <a:latin typeface="Calibri" pitchFamily="34" charset="0"/>
        </a:defRPr>
      </a:lvl8pPr>
      <a:lvl9pPr marL="1828800" algn="l" rtl="0" fontAlgn="base">
        <a:spcBef>
          <a:spcPct val="0"/>
        </a:spcBef>
        <a:spcAft>
          <a:spcPct val="0"/>
        </a:spcAft>
        <a:defRPr sz="3200">
          <a:solidFill>
            <a:srgbClr val="FFFFFF"/>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Image 6" descr="FOND-ACCEIU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Espace réservé du titre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5123" name="Espace réservé du texte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hangingPunct="1">
              <a:defRPr sz="1200">
                <a:solidFill>
                  <a:schemeClr val="tx1">
                    <a:tint val="75000"/>
                  </a:schemeClr>
                </a:solidFill>
              </a:defRPr>
            </a:lvl1pPr>
          </a:lstStyle>
          <a:p>
            <a:pPr>
              <a:defRPr/>
            </a:pPr>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hangingPunct="1">
              <a:defRPr sz="1200">
                <a:solidFill>
                  <a:schemeClr val="tx1">
                    <a:tint val="75000"/>
                  </a:schemeClr>
                </a:solidFill>
              </a:defRPr>
            </a:lvl1pPr>
          </a:lstStyle>
          <a:p>
            <a:pPr>
              <a:defRPr/>
            </a:pPr>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B9B8"/>
                </a:solidFill>
              </a:defRPr>
            </a:lvl1pPr>
          </a:lstStyle>
          <a:p>
            <a:pPr>
              <a:defRPr/>
            </a:pPr>
            <a:fld id="{C01793A1-1768-4F77-8139-77C0AB2DCBB8}" type="slidenum">
              <a:rPr lang="fr-FR" altLang="fr-FR"/>
              <a:pPr>
                <a:defRPr/>
              </a:pPr>
              <a:t>‹N°›</a:t>
            </a:fld>
            <a:endParaRPr lang="fr-FR" altLang="fr-FR"/>
          </a:p>
        </p:txBody>
      </p:sp>
      <p:pic>
        <p:nvPicPr>
          <p:cNvPr id="5127" name="Image 6" descr="INTER ELECTRIQU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6147"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pic>
        <p:nvPicPr>
          <p:cNvPr id="6148" name="Image 4" descr="Aeronotique-Sui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pic>
        <p:nvPicPr>
          <p:cNvPr id="7171" name="Image 3" descr="Agroalimentaire-Acceui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Espace réservé du titre 1"/>
          <p:cNvSpPr>
            <a:spLocks noGrp="1"/>
          </p:cNvSpPr>
          <p:nvPr>
            <p:ph type="title"/>
          </p:nvPr>
        </p:nvSpPr>
        <p:spPr bwMode="auto">
          <a:xfrm>
            <a:off x="0" y="0"/>
            <a:ext cx="58674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8195" name="Espace réservé du texte 2"/>
          <p:cNvSpPr>
            <a:spLocks noGrp="1"/>
          </p:cNvSpPr>
          <p:nvPr>
            <p:ph type="body" idx="1"/>
          </p:nvPr>
        </p:nvSpPr>
        <p:spPr bwMode="auto">
          <a:xfrm>
            <a:off x="468313" y="13414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pic>
        <p:nvPicPr>
          <p:cNvPr id="8196" name="Image 4" descr="Agroalimentaire-Sui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l" rtl="0" eaLnBrk="0" fontAlgn="base" hangingPunct="0">
        <a:spcBef>
          <a:spcPct val="0"/>
        </a:spcBef>
        <a:spcAft>
          <a:spcPct val="0"/>
        </a:spcAft>
        <a:defRPr sz="3200" kern="1200">
          <a:solidFill>
            <a:srgbClr val="FFFFFF"/>
          </a:solidFill>
          <a:latin typeface="+mj-lt"/>
          <a:ea typeface="+mj-ea"/>
          <a:cs typeface="+mj-cs"/>
        </a:defRPr>
      </a:lvl1pPr>
      <a:lvl2pPr algn="l" rtl="0" eaLnBrk="0" fontAlgn="base" hangingPunct="0">
        <a:spcBef>
          <a:spcPct val="0"/>
        </a:spcBef>
        <a:spcAft>
          <a:spcPct val="0"/>
        </a:spcAft>
        <a:defRPr sz="3200">
          <a:solidFill>
            <a:srgbClr val="FFFFFF"/>
          </a:solidFill>
          <a:latin typeface="Century Gothic" pitchFamily="34" charset="0"/>
        </a:defRPr>
      </a:lvl2pPr>
      <a:lvl3pPr algn="l" rtl="0" eaLnBrk="0" fontAlgn="base" hangingPunct="0">
        <a:spcBef>
          <a:spcPct val="0"/>
        </a:spcBef>
        <a:spcAft>
          <a:spcPct val="0"/>
        </a:spcAft>
        <a:defRPr sz="3200">
          <a:solidFill>
            <a:srgbClr val="FFFFFF"/>
          </a:solidFill>
          <a:latin typeface="Century Gothic" pitchFamily="34" charset="0"/>
        </a:defRPr>
      </a:lvl3pPr>
      <a:lvl4pPr algn="l" rtl="0" eaLnBrk="0" fontAlgn="base" hangingPunct="0">
        <a:spcBef>
          <a:spcPct val="0"/>
        </a:spcBef>
        <a:spcAft>
          <a:spcPct val="0"/>
        </a:spcAft>
        <a:defRPr sz="3200">
          <a:solidFill>
            <a:srgbClr val="FFFFFF"/>
          </a:solidFill>
          <a:latin typeface="Century Gothic" pitchFamily="34" charset="0"/>
        </a:defRPr>
      </a:lvl4pPr>
      <a:lvl5pPr algn="l" rtl="0" eaLnBrk="0" fontAlgn="base" hangingPunct="0">
        <a:spcBef>
          <a:spcPct val="0"/>
        </a:spcBef>
        <a:spcAft>
          <a:spcPct val="0"/>
        </a:spcAft>
        <a:defRPr sz="3200">
          <a:solidFill>
            <a:srgbClr val="FFFFFF"/>
          </a:solidFill>
          <a:latin typeface="Century Gothic" pitchFamily="34" charset="0"/>
        </a:defRPr>
      </a:lvl5pPr>
      <a:lvl6pPr marL="457200" algn="l" rtl="0" fontAlgn="base">
        <a:spcBef>
          <a:spcPct val="0"/>
        </a:spcBef>
        <a:spcAft>
          <a:spcPct val="0"/>
        </a:spcAft>
        <a:defRPr sz="3200">
          <a:solidFill>
            <a:srgbClr val="FFFFFF"/>
          </a:solidFill>
          <a:latin typeface="Century Gothic" pitchFamily="34" charset="0"/>
        </a:defRPr>
      </a:lvl6pPr>
      <a:lvl7pPr marL="914400" algn="l" rtl="0" fontAlgn="base">
        <a:spcBef>
          <a:spcPct val="0"/>
        </a:spcBef>
        <a:spcAft>
          <a:spcPct val="0"/>
        </a:spcAft>
        <a:defRPr sz="3200">
          <a:solidFill>
            <a:srgbClr val="FFFFFF"/>
          </a:solidFill>
          <a:latin typeface="Century Gothic" pitchFamily="34" charset="0"/>
        </a:defRPr>
      </a:lvl7pPr>
      <a:lvl8pPr marL="1371600" algn="l" rtl="0" fontAlgn="base">
        <a:spcBef>
          <a:spcPct val="0"/>
        </a:spcBef>
        <a:spcAft>
          <a:spcPct val="0"/>
        </a:spcAft>
        <a:defRPr sz="3200">
          <a:solidFill>
            <a:srgbClr val="FFFFFF"/>
          </a:solidFill>
          <a:latin typeface="Century Gothic" pitchFamily="34" charset="0"/>
        </a:defRPr>
      </a:lvl8pPr>
      <a:lvl9pPr marL="1828800" algn="l" rtl="0" fontAlgn="base">
        <a:spcBef>
          <a:spcPct val="0"/>
        </a:spcBef>
        <a:spcAft>
          <a:spcPct val="0"/>
        </a:spcAft>
        <a:defRPr sz="3200">
          <a:solidFill>
            <a:srgbClr val="FFFFFF"/>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Espace réservé du titre 1"/>
          <p:cNvSpPr>
            <a:spLocks noGrp="1"/>
          </p:cNvSpPr>
          <p:nvPr>
            <p:ph type="title"/>
          </p:nvPr>
        </p:nvSpPr>
        <p:spPr bwMode="auto">
          <a:xfrm>
            <a:off x="539750" y="400526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pic>
        <p:nvPicPr>
          <p:cNvPr id="9219" name="Image 4" descr="Cuir-Acceui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spd="med">
    <p:fade/>
  </p:transition>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entury Gothic" pitchFamily="34" charset="0"/>
        </a:defRPr>
      </a:lvl2pPr>
      <a:lvl3pPr algn="ctr" rtl="0" eaLnBrk="0" fontAlgn="base" hangingPunct="0">
        <a:spcBef>
          <a:spcPct val="0"/>
        </a:spcBef>
        <a:spcAft>
          <a:spcPct val="0"/>
        </a:spcAft>
        <a:defRPr sz="4400">
          <a:solidFill>
            <a:schemeClr val="tx1"/>
          </a:solidFill>
          <a:latin typeface="Century Gothic" pitchFamily="34" charset="0"/>
        </a:defRPr>
      </a:lvl3pPr>
      <a:lvl4pPr algn="ctr" rtl="0" eaLnBrk="0" fontAlgn="base" hangingPunct="0">
        <a:spcBef>
          <a:spcPct val="0"/>
        </a:spcBef>
        <a:spcAft>
          <a:spcPct val="0"/>
        </a:spcAft>
        <a:defRPr sz="4400">
          <a:solidFill>
            <a:schemeClr val="tx1"/>
          </a:solidFill>
          <a:latin typeface="Century Gothic" pitchFamily="34" charset="0"/>
        </a:defRPr>
      </a:lvl4pPr>
      <a:lvl5pPr algn="ctr" rtl="0" eaLnBrk="0" fontAlgn="base" hangingPunct="0">
        <a:spcBef>
          <a:spcPct val="0"/>
        </a:spcBef>
        <a:spcAft>
          <a:spcPct val="0"/>
        </a:spcAft>
        <a:defRPr sz="4400">
          <a:solidFill>
            <a:schemeClr val="tx1"/>
          </a:solidFill>
          <a:latin typeface="Century Gothic" pitchFamily="34" charset="0"/>
        </a:defRPr>
      </a:lvl5pPr>
      <a:lvl6pPr marL="457200" algn="ctr" rtl="0" fontAlgn="base">
        <a:spcBef>
          <a:spcPct val="0"/>
        </a:spcBef>
        <a:spcAft>
          <a:spcPct val="0"/>
        </a:spcAft>
        <a:defRPr sz="4400">
          <a:solidFill>
            <a:schemeClr val="tx1"/>
          </a:solidFill>
          <a:latin typeface="Century Gothic" pitchFamily="34" charset="0"/>
        </a:defRPr>
      </a:lvl6pPr>
      <a:lvl7pPr marL="914400" algn="ctr" rtl="0" fontAlgn="base">
        <a:spcBef>
          <a:spcPct val="0"/>
        </a:spcBef>
        <a:spcAft>
          <a:spcPct val="0"/>
        </a:spcAft>
        <a:defRPr sz="4400">
          <a:solidFill>
            <a:schemeClr val="tx1"/>
          </a:solidFill>
          <a:latin typeface="Century Gothic" pitchFamily="34" charset="0"/>
        </a:defRPr>
      </a:lvl7pPr>
      <a:lvl8pPr marL="1371600" algn="ctr" rtl="0" fontAlgn="base">
        <a:spcBef>
          <a:spcPct val="0"/>
        </a:spcBef>
        <a:spcAft>
          <a:spcPct val="0"/>
        </a:spcAft>
        <a:defRPr sz="4400">
          <a:solidFill>
            <a:schemeClr val="tx1"/>
          </a:solidFill>
          <a:latin typeface="Century Gothic" pitchFamily="34" charset="0"/>
        </a:defRPr>
      </a:lvl8pPr>
      <a:lvl9pPr marL="1828800" algn="ctr" rtl="0" fontAlgn="base">
        <a:spcBef>
          <a:spcPct val="0"/>
        </a:spcBef>
        <a:spcAft>
          <a:spcPct val="0"/>
        </a:spcAft>
        <a:defRPr sz="4400">
          <a:solidFill>
            <a:schemeClr val="tx1"/>
          </a:solidFill>
          <a:latin typeface="Century Gothic"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1.xml"/><Relationship Id="rId1" Type="http://schemas.openxmlformats.org/officeDocument/2006/relationships/slideLayout" Target="../slideLayouts/slideLayout15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5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77.xml"/></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79.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jpeg"/><Relationship Id="rId4" Type="http://schemas.openxmlformats.org/officeDocument/2006/relationships/image" Target="../media/image39.png"/><Relationship Id="rId9"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51.wmf"/><Relationship Id="rId13" Type="http://schemas.openxmlformats.org/officeDocument/2006/relationships/image" Target="../media/image54.jpeg"/><Relationship Id="rId3" Type="http://schemas.openxmlformats.org/officeDocument/2006/relationships/notesSlide" Target="../notesSlides/notesSlide13.xml"/><Relationship Id="rId7" Type="http://schemas.openxmlformats.org/officeDocument/2006/relationships/image" Target="../media/image50.jpeg"/><Relationship Id="rId12" Type="http://schemas.openxmlformats.org/officeDocument/2006/relationships/image" Target="../media/image53.jpeg"/><Relationship Id="rId2" Type="http://schemas.openxmlformats.org/officeDocument/2006/relationships/slideLayout" Target="../slideLayouts/slideLayout80.xml"/><Relationship Id="rId1" Type="http://schemas.openxmlformats.org/officeDocument/2006/relationships/vmlDrawing" Target="../drawings/vmlDrawing23.vml"/><Relationship Id="rId6" Type="http://schemas.openxmlformats.org/officeDocument/2006/relationships/image" Target="../media/image49.jpeg"/><Relationship Id="rId11" Type="http://schemas.openxmlformats.org/officeDocument/2006/relationships/image" Target="../media/image52.jpeg"/><Relationship Id="rId5" Type="http://schemas.openxmlformats.org/officeDocument/2006/relationships/image" Target="../media/image48.png"/><Relationship Id="rId15" Type="http://schemas.openxmlformats.org/officeDocument/2006/relationships/image" Target="../media/image55.jpeg"/><Relationship Id="rId10" Type="http://schemas.openxmlformats.org/officeDocument/2006/relationships/image" Target="../media/image46.png"/><Relationship Id="rId4" Type="http://schemas.openxmlformats.org/officeDocument/2006/relationships/image" Target="../media/image47.jpeg"/><Relationship Id="rId9" Type="http://schemas.openxmlformats.org/officeDocument/2006/relationships/oleObject" Target="../embeddings/oleObject23.bin"/><Relationship Id="rId14" Type="http://schemas.openxmlformats.org/officeDocument/2006/relationships/hyperlink" Target="http://images.google.co.uk/imgres?imgurl=http://www.macombcountymi.gov/MCPED/E-Macomb/April%202009/Pictures/Aerospace(wrklc2).jpg&amp;imgrefurl=http://www.macombcountymi.gov/MCPED/E-Macomb/April%202009/April09%20-%20EDIA%20-%20MEGA%20Awards.html&amp;usg=__Zup79a86OaIhC0zkBJJ_MGz-FfA=&amp;h=276&amp;w=415&amp;sz=125&amp;hl=en&amp;start=5&amp;um=1&amp;itbs=1&amp;tbnid=Bz_1I0OnaPLYSM:&amp;tbnh=83&amp;tbnw=125&amp;prev=/images?q%3Daerospace%26um%3D1%26hl%3Den%26sa%3DN%26tbs%3Disch:1"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60.jpeg"/><Relationship Id="rId13" Type="http://schemas.openxmlformats.org/officeDocument/2006/relationships/image" Target="../media/image63.png"/><Relationship Id="rId3" Type="http://schemas.openxmlformats.org/officeDocument/2006/relationships/image" Target="../media/image56.jpeg"/><Relationship Id="rId7" Type="http://schemas.openxmlformats.org/officeDocument/2006/relationships/image" Target="../media/image59.jpeg"/><Relationship Id="rId12" Type="http://schemas.openxmlformats.org/officeDocument/2006/relationships/image" Target="../media/image62.jpe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hyperlink" Target="http://images.google.com/imgres?imgurl=http://www.usinenouvelle.com/upload/visuels/fr/Image_d_article/altran_logo_img_fr.gif&amp;imgrefurl=http://www.usinenouvelle.com/article/nouveau-depart-a-la-tete-d-altran.85596&amp;usg=__8oIetVLoZHGKiWo6MIoHdsR8o7k=&amp;h=153&amp;w=150&amp;sz=3&amp;hl=fr&amp;start=1&amp;tbnid=5r5DV95iSBsykM:&amp;tbnh=96&amp;tbnw=94&amp;prev=/images?q=logo+Altran&amp;gbv=2&amp;hl=fr" TargetMode="External"/><Relationship Id="rId11" Type="http://schemas.openxmlformats.org/officeDocument/2006/relationships/hyperlink" Target="http://images.google.com/imgres?imgurl=http://www.memoire-aeropostale.com/images/logos/LATECOERE.jpg&amp;imgrefurl=http://www.memoire-aeropostale.com/index.php?pg=sponsors-partenaires&amp;lang=fr&amp;usg=__JG9rhcN3NOAtoiHYDhUlMNYkWN4=&amp;h=43&amp;w=150&amp;sz=6&amp;hl=fr&amp;start=7&amp;tbnid=nf2amhwaVEJOPM:&amp;tbnh=28&amp;tbnw=96&amp;prev=/images?q=logo+Lat%C3%A9co%C3%A8re&amp;gbv=2&amp;hl=fr" TargetMode="External"/><Relationship Id="rId5" Type="http://schemas.openxmlformats.org/officeDocument/2006/relationships/image" Target="../media/image58.jpeg"/><Relationship Id="rId10" Type="http://schemas.openxmlformats.org/officeDocument/2006/relationships/image" Target="../media/image61.png"/><Relationship Id="rId4" Type="http://schemas.openxmlformats.org/officeDocument/2006/relationships/image" Target="../media/image57.png"/><Relationship Id="rId9" Type="http://schemas.openxmlformats.org/officeDocument/2006/relationships/image" Target="../media/image45.jpeg"/><Relationship Id="rId14" Type="http://schemas.openxmlformats.org/officeDocument/2006/relationships/image" Target="../media/image64.jpeg"/></Relationships>
</file>

<file path=ppt/slides/_rels/slide15.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4.png"/><Relationship Id="rId3" Type="http://schemas.openxmlformats.org/officeDocument/2006/relationships/image" Target="../media/image65.jpeg"/><Relationship Id="rId7" Type="http://schemas.openxmlformats.org/officeDocument/2006/relationships/image" Target="../media/image68.jpeg"/><Relationship Id="rId12" Type="http://schemas.openxmlformats.org/officeDocument/2006/relationships/image" Target="../media/image73.png"/><Relationship Id="rId17" Type="http://schemas.openxmlformats.org/officeDocument/2006/relationships/image" Target="../media/image78.jpeg"/><Relationship Id="rId2" Type="http://schemas.openxmlformats.org/officeDocument/2006/relationships/notesSlide" Target="../notesSlides/notesSlide15.xml"/><Relationship Id="rId16" Type="http://schemas.openxmlformats.org/officeDocument/2006/relationships/image" Target="../media/image77.png"/><Relationship Id="rId1" Type="http://schemas.openxmlformats.org/officeDocument/2006/relationships/slideLayout" Target="../slideLayouts/slideLayout11.xml"/><Relationship Id="rId6" Type="http://schemas.openxmlformats.org/officeDocument/2006/relationships/image" Target="../media/image67.png"/><Relationship Id="rId11" Type="http://schemas.openxmlformats.org/officeDocument/2006/relationships/image" Target="../media/image72.jpe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png"/><Relationship Id="rId4" Type="http://schemas.openxmlformats.org/officeDocument/2006/relationships/hyperlink" Target="http://www.leoni.com/" TargetMode="External"/><Relationship Id="rId9" Type="http://schemas.openxmlformats.org/officeDocument/2006/relationships/image" Target="../media/image70.png"/><Relationship Id="rId14" Type="http://schemas.openxmlformats.org/officeDocument/2006/relationships/image" Target="../media/image75.jpeg"/></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83.png"/><Relationship Id="rId5" Type="http://schemas.openxmlformats.org/officeDocument/2006/relationships/image" Target="../media/image82.jpeg"/><Relationship Id="rId4" Type="http://schemas.openxmlformats.org/officeDocument/2006/relationships/image" Target="../media/image81.jpeg"/></Relationships>
</file>

<file path=ppt/slides/_rels/slide18.xml.rels><?xml version="1.0" encoding="UTF-8" standalone="yes"?>
<Relationships xmlns="http://schemas.openxmlformats.org/package/2006/relationships"><Relationship Id="rId8" Type="http://schemas.openxmlformats.org/officeDocument/2006/relationships/image" Target="../media/image89.jpeg"/><Relationship Id="rId13" Type="http://schemas.openxmlformats.org/officeDocument/2006/relationships/image" Target="../media/image94.jpeg"/><Relationship Id="rId3" Type="http://schemas.openxmlformats.org/officeDocument/2006/relationships/image" Target="../media/image84.png"/><Relationship Id="rId7" Type="http://schemas.openxmlformats.org/officeDocument/2006/relationships/image" Target="../media/image88.jpeg"/><Relationship Id="rId12" Type="http://schemas.openxmlformats.org/officeDocument/2006/relationships/image" Target="../media/image93.jpeg"/><Relationship Id="rId2" Type="http://schemas.openxmlformats.org/officeDocument/2006/relationships/notesSlide" Target="../notesSlides/notesSlide18.xml"/><Relationship Id="rId1" Type="http://schemas.openxmlformats.org/officeDocument/2006/relationships/slideLayout" Target="../slideLayouts/slideLayout178.xml"/><Relationship Id="rId6" Type="http://schemas.openxmlformats.org/officeDocument/2006/relationships/image" Target="../media/image87.jpeg"/><Relationship Id="rId11" Type="http://schemas.openxmlformats.org/officeDocument/2006/relationships/image" Target="../media/image92.png"/><Relationship Id="rId5" Type="http://schemas.openxmlformats.org/officeDocument/2006/relationships/image" Target="../media/image86.jpeg"/><Relationship Id="rId15" Type="http://schemas.openxmlformats.org/officeDocument/2006/relationships/image" Target="../media/image96.jpeg"/><Relationship Id="rId10" Type="http://schemas.openxmlformats.org/officeDocument/2006/relationships/image" Target="../media/image91.jpeg"/><Relationship Id="rId4" Type="http://schemas.openxmlformats.org/officeDocument/2006/relationships/image" Target="../media/image85.jpeg"/><Relationship Id="rId9" Type="http://schemas.openxmlformats.org/officeDocument/2006/relationships/image" Target="../media/image90.jpeg"/><Relationship Id="rId14" Type="http://schemas.openxmlformats.org/officeDocument/2006/relationships/image" Target="../media/image95.jpeg"/></Relationships>
</file>

<file path=ppt/slides/_rels/slide19.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5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9.xml"/></Relationships>
</file>

<file path=ppt/slides/_rels/slide4.xml.rels><?xml version="1.0" encoding="UTF-8" standalone="yes"?>
<Relationships xmlns="http://schemas.openxmlformats.org/package/2006/relationships"><Relationship Id="rId8" Type="http://schemas.openxmlformats.org/officeDocument/2006/relationships/image" Target="../media/image30.gif"/><Relationship Id="rId3" Type="http://schemas.openxmlformats.org/officeDocument/2006/relationships/image" Target="../media/image25.emf"/><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59.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9.xml"/></Relationships>
</file>

<file path=ppt/slides/_rels/slide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15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5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5949950"/>
            <a:ext cx="1347788" cy="908050"/>
          </a:xfrm>
          <a:prstGeom prst="rect">
            <a:avLst/>
          </a:prstGeom>
          <a:solidFill>
            <a:srgbClr val="F8F8F8"/>
          </a:solidFill>
          <a:ln>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solidFill>
                <a:srgbClr val="990099"/>
              </a:solidFill>
            </a:endParaRPr>
          </a:p>
        </p:txBody>
      </p:sp>
      <p:sp>
        <p:nvSpPr>
          <p:cNvPr id="147459" name="Shape 64"/>
          <p:cNvSpPr>
            <a:spLocks noChangeArrowheads="1"/>
          </p:cNvSpPr>
          <p:nvPr/>
        </p:nvSpPr>
        <p:spPr bwMode="auto">
          <a:xfrm>
            <a:off x="1130300" y="2483724"/>
            <a:ext cx="7785100" cy="221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150000"/>
              </a:lnSpc>
            </a:pPr>
            <a:r>
              <a:rPr lang="fr-FR" altLang="fr-FR" sz="3200" b="1" dirty="0" smtClean="0">
                <a:solidFill>
                  <a:srgbClr val="FF0000"/>
                </a:solidFill>
                <a:latin typeface="MS Reference Sans Serif" panose="020B0604030504040204" pitchFamily="34" charset="0"/>
                <a:sym typeface="Palatino" pitchFamily="18" charset="0"/>
              </a:rPr>
              <a:t>TUNISIA: </a:t>
            </a:r>
          </a:p>
          <a:p>
            <a:pPr eaLnBrk="1" hangingPunct="1">
              <a:lnSpc>
                <a:spcPct val="150000"/>
              </a:lnSpc>
            </a:pPr>
            <a:r>
              <a:rPr lang="fr-FR" altLang="fr-FR" sz="3200" b="1" dirty="0" smtClean="0">
                <a:solidFill>
                  <a:srgbClr val="FF0000"/>
                </a:solidFill>
                <a:latin typeface="MS Reference Sans Serif" panose="020B0604030504040204" pitchFamily="34" charset="0"/>
                <a:sym typeface="Palatino" pitchFamily="18" charset="0"/>
              </a:rPr>
              <a:t>A FAVORITE BUSINESS CLIMATE AND</a:t>
            </a:r>
          </a:p>
          <a:p>
            <a:pPr eaLnBrk="1" hangingPunct="1">
              <a:lnSpc>
                <a:spcPct val="150000"/>
              </a:lnSpc>
            </a:pPr>
            <a:r>
              <a:rPr lang="fr-FR" altLang="fr-FR" sz="3200" b="1" dirty="0" smtClean="0">
                <a:solidFill>
                  <a:srgbClr val="FF0000"/>
                </a:solidFill>
                <a:latin typeface="MS Reference Sans Serif" panose="020B0604030504040204" pitchFamily="34" charset="0"/>
                <a:sym typeface="Palatino" pitchFamily="18" charset="0"/>
              </a:rPr>
              <a:t>NEW OPPURTUNITIES</a:t>
            </a:r>
            <a:r>
              <a:rPr lang="fr-FR" altLang="fr-FR" sz="3200" b="1" dirty="0" smtClean="0">
                <a:solidFill>
                  <a:srgbClr val="002060"/>
                </a:solidFill>
                <a:latin typeface="MS Reference Sans Serif" panose="020B0604030504040204" pitchFamily="34" charset="0"/>
                <a:sym typeface="Palatino" pitchFamily="18" charset="0"/>
              </a:rPr>
              <a:t> </a:t>
            </a:r>
            <a:endParaRPr lang="fr-FR" altLang="fr-FR" sz="3200" b="1" dirty="0">
              <a:solidFill>
                <a:srgbClr val="002060"/>
              </a:solidFill>
              <a:latin typeface="MS Reference Sans Serif" panose="020B0604030504040204" pitchFamily="34" charset="0"/>
              <a:sym typeface="Palatino" pitchFamily="18" charset="0"/>
            </a:endParaRPr>
          </a:p>
        </p:txBody>
      </p:sp>
      <p:pic>
        <p:nvPicPr>
          <p:cNvPr id="147460" name="Picture 5" descr="Drapeau du pays (24409)"/>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85738" y="620713"/>
            <a:ext cx="11620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461" name="Shape 63"/>
          <p:cNvSpPr>
            <a:spLocks noChangeArrowheads="1"/>
          </p:cNvSpPr>
          <p:nvPr/>
        </p:nvSpPr>
        <p:spPr bwMode="auto">
          <a:xfrm>
            <a:off x="414338" y="4722813"/>
            <a:ext cx="8393112" cy="133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850"/>
              </a:spcBef>
            </a:pPr>
            <a:r>
              <a:rPr lang="fr-FR" altLang="fr-FR" sz="1600" i="1">
                <a:solidFill>
                  <a:srgbClr val="414141"/>
                </a:solidFill>
                <a:latin typeface="Palatino" pitchFamily="18" charset="0"/>
                <a:ea typeface="Helvetica Neue Light"/>
                <a:cs typeface="Helvetica Neue Light"/>
                <a:sym typeface="Palatino" pitchFamily="18" charset="0"/>
              </a:rPr>
              <a:t>Khalil Laabidi- </a:t>
            </a:r>
          </a:p>
          <a:p>
            <a:pPr algn="ctr" eaLnBrk="1" hangingPunct="1">
              <a:spcBef>
                <a:spcPts val="850"/>
              </a:spcBef>
            </a:pPr>
            <a:r>
              <a:rPr lang="fr-FR" altLang="fr-FR" sz="1600" i="1">
                <a:solidFill>
                  <a:srgbClr val="414141"/>
                </a:solidFill>
                <a:latin typeface="Palatino" pitchFamily="18" charset="0"/>
                <a:ea typeface="Helvetica Neue Light"/>
                <a:cs typeface="Helvetica Neue Light"/>
                <a:sym typeface="Palatino" pitchFamily="18" charset="0"/>
              </a:rPr>
              <a:t>Director General – Foreign Investment Promotion Agency</a:t>
            </a:r>
          </a:p>
          <a:p>
            <a:pPr algn="ctr" eaLnBrk="1" hangingPunct="1">
              <a:spcBef>
                <a:spcPts val="850"/>
              </a:spcBef>
            </a:pPr>
            <a:r>
              <a:rPr lang="fr-FR" altLang="fr-FR" sz="1600" i="1">
                <a:solidFill>
                  <a:srgbClr val="414141"/>
                </a:solidFill>
                <a:latin typeface="Palatino" pitchFamily="18" charset="0"/>
                <a:ea typeface="Helvetica Neue Light"/>
                <a:cs typeface="Helvetica Neue Light"/>
                <a:sym typeface="Palatino" pitchFamily="18" charset="0"/>
              </a:rPr>
              <a:t>President – Tunisian Investment Authority </a:t>
            </a:r>
          </a:p>
          <a:p>
            <a:pPr algn="ctr" eaLnBrk="1" hangingPunct="1">
              <a:spcBef>
                <a:spcPts val="850"/>
              </a:spcBef>
            </a:pPr>
            <a:endParaRPr lang="fr-FR" altLang="fr-FR" sz="1600" i="1">
              <a:solidFill>
                <a:srgbClr val="414141"/>
              </a:solidFill>
              <a:latin typeface="Palatino" pitchFamily="18" charset="0"/>
              <a:ea typeface="Helvetica Neue Light"/>
              <a:cs typeface="Helvetica Neue Light"/>
              <a:sym typeface="Palatino" pitchFamily="18"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e 2"/>
          <p:cNvGraphicFramePr/>
          <p:nvPr/>
        </p:nvGraphicFramePr>
        <p:xfrm>
          <a:off x="325724" y="1268760"/>
          <a:ext cx="8424936" cy="51845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7939" name="Titre 1"/>
          <p:cNvSpPr>
            <a:spLocks noGrp="1"/>
          </p:cNvSpPr>
          <p:nvPr>
            <p:ph type="title"/>
          </p:nvPr>
        </p:nvSpPr>
        <p:spPr>
          <a:xfrm>
            <a:off x="1042988" y="0"/>
            <a:ext cx="4176712" cy="1052513"/>
          </a:xfrm>
        </p:spPr>
        <p:txBody>
          <a:bodyPr/>
          <a:lstStyle/>
          <a:p>
            <a:pPr algn="ctr" eaLnBrk="1" hangingPunct="1"/>
            <a:r>
              <a:rPr lang="fr-FR" altLang="fr-FR" sz="2000" b="1" smtClean="0">
                <a:solidFill>
                  <a:schemeClr val="tx2"/>
                </a:solidFill>
              </a:rPr>
              <a:t>OVERVIEW</a:t>
            </a:r>
          </a:p>
        </p:txBody>
      </p:sp>
      <p:sp>
        <p:nvSpPr>
          <p:cNvPr id="2" name="ZoneTexte 1"/>
          <p:cNvSpPr txBox="1"/>
          <p:nvPr/>
        </p:nvSpPr>
        <p:spPr>
          <a:xfrm>
            <a:off x="3449638" y="2001838"/>
            <a:ext cx="360362" cy="769937"/>
          </a:xfrm>
          <a:prstGeom prst="rect">
            <a:avLst/>
          </a:prstGeom>
          <a:noFill/>
        </p:spPr>
        <p:txBody>
          <a:bodyPr>
            <a:spAutoFit/>
          </a:bodyPr>
          <a:lstStyle/>
          <a:p>
            <a:pPr algn="ctr" eaLnBrk="1" hangingPunct="1">
              <a:defRPr/>
            </a:pPr>
            <a:r>
              <a:rPr lang="fr-FR" sz="4400" b="1" dirty="0">
                <a:solidFill>
                  <a:schemeClr val="tx2">
                    <a:lumMod val="85000"/>
                  </a:schemeClr>
                </a:solidFill>
                <a:effectLst>
                  <a:outerShdw blurRad="38100" dist="38100" dir="2700000" algn="tl">
                    <a:srgbClr val="000000">
                      <a:alpha val="43137"/>
                    </a:srgbClr>
                  </a:outerShdw>
                </a:effectLst>
                <a:latin typeface="Century Gothic" pitchFamily="34" charset="0"/>
              </a:rPr>
              <a:t>1</a:t>
            </a:r>
          </a:p>
        </p:txBody>
      </p:sp>
      <p:sp>
        <p:nvSpPr>
          <p:cNvPr id="13" name="ZoneTexte 12"/>
          <p:cNvSpPr txBox="1"/>
          <p:nvPr/>
        </p:nvSpPr>
        <p:spPr>
          <a:xfrm>
            <a:off x="3500438" y="3405188"/>
            <a:ext cx="358775" cy="769937"/>
          </a:xfrm>
          <a:prstGeom prst="rect">
            <a:avLst/>
          </a:prstGeom>
          <a:noFill/>
        </p:spPr>
        <p:txBody>
          <a:bodyPr>
            <a:spAutoFit/>
          </a:bodyPr>
          <a:lstStyle/>
          <a:p>
            <a:pPr algn="ctr" eaLnBrk="1" hangingPunct="1">
              <a:defRPr/>
            </a:pPr>
            <a:r>
              <a:rPr lang="fr-FR" sz="4400" b="1" dirty="0">
                <a:solidFill>
                  <a:srgbClr val="FFFFFF">
                    <a:lumMod val="75000"/>
                  </a:srgbClr>
                </a:solidFill>
                <a:effectLst>
                  <a:outerShdw blurRad="38100" dist="38100" dir="2700000" algn="tl">
                    <a:srgbClr val="000000">
                      <a:alpha val="43137"/>
                    </a:srgbClr>
                  </a:outerShdw>
                </a:effectLst>
                <a:latin typeface="Century Gothic" pitchFamily="34" charset="0"/>
              </a:rPr>
              <a:t>2</a:t>
            </a:r>
          </a:p>
        </p:txBody>
      </p:sp>
      <p:sp>
        <p:nvSpPr>
          <p:cNvPr id="17" name="ZoneTexte 16"/>
          <p:cNvSpPr txBox="1"/>
          <p:nvPr/>
        </p:nvSpPr>
        <p:spPr>
          <a:xfrm>
            <a:off x="3533775" y="4887913"/>
            <a:ext cx="360363" cy="768350"/>
          </a:xfrm>
          <a:prstGeom prst="rect">
            <a:avLst/>
          </a:prstGeom>
          <a:noFill/>
        </p:spPr>
        <p:txBody>
          <a:bodyPr>
            <a:spAutoFit/>
          </a:bodyPr>
          <a:lstStyle/>
          <a:p>
            <a:pPr algn="ctr" eaLnBrk="1" hangingPunct="1">
              <a:defRPr/>
            </a:pPr>
            <a:r>
              <a:rPr lang="fr-FR" sz="4400" b="1" dirty="0">
                <a:solidFill>
                  <a:srgbClr val="002060"/>
                </a:solidFill>
                <a:effectLst>
                  <a:outerShdw blurRad="38100" dist="38100" dir="2700000" algn="tl">
                    <a:srgbClr val="000000">
                      <a:alpha val="43137"/>
                    </a:srgbClr>
                  </a:outerShdw>
                </a:effectLst>
                <a:latin typeface="Century Gothic" pitchFamily="34" charset="0"/>
              </a:rPr>
              <a:t>3</a:t>
            </a:r>
          </a:p>
        </p:txBody>
      </p:sp>
      <p:sp>
        <p:nvSpPr>
          <p:cNvPr id="10" name="ZoneTexte 4"/>
          <p:cNvSpPr txBox="1">
            <a:spLocks noChangeArrowheads="1"/>
          </p:cNvSpPr>
          <p:nvPr/>
        </p:nvSpPr>
        <p:spPr bwMode="auto">
          <a:xfrm>
            <a:off x="3906838" y="2185988"/>
            <a:ext cx="4741862" cy="338137"/>
          </a:xfrm>
          <a:prstGeom prst="rect">
            <a:avLst/>
          </a:prstGeom>
          <a:solidFill>
            <a:schemeClr val="tx2">
              <a:lumMod val="85000"/>
            </a:schemeClr>
          </a:solidFill>
          <a:ln>
            <a:noFill/>
          </a:ln>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fr-FR" sz="1600" b="1" smtClean="0">
                <a:solidFill>
                  <a:srgbClr val="F2F2F2"/>
                </a:solidFill>
                <a:latin typeface="Century Gothic" pitchFamily="34" charset="0"/>
              </a:rPr>
              <a:t>INVESTMENT LAW</a:t>
            </a:r>
          </a:p>
        </p:txBody>
      </p:sp>
      <p:sp>
        <p:nvSpPr>
          <p:cNvPr id="167944" name="ZoneTexte 10"/>
          <p:cNvSpPr txBox="1">
            <a:spLocks noChangeArrowheads="1"/>
          </p:cNvSpPr>
          <p:nvPr/>
        </p:nvSpPr>
        <p:spPr bwMode="auto">
          <a:xfrm>
            <a:off x="4010025" y="4979988"/>
            <a:ext cx="4638675" cy="5842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fr-FR" altLang="fr-FR" sz="1600" b="1">
                <a:solidFill>
                  <a:srgbClr val="FFFFFF"/>
                </a:solidFill>
                <a:latin typeface="Century Gothic" panose="020B0502020202020204" pitchFamily="34" charset="0"/>
              </a:rPr>
              <a:t>PROMISING INVESTMENT OPPORTUNITIES PREVAILING IN TUNISIA</a:t>
            </a:r>
          </a:p>
        </p:txBody>
      </p:sp>
      <p:sp>
        <p:nvSpPr>
          <p:cNvPr id="14" name="ZoneTexte 13"/>
          <p:cNvSpPr txBox="1"/>
          <p:nvPr/>
        </p:nvSpPr>
        <p:spPr>
          <a:xfrm>
            <a:off x="3992563" y="3619500"/>
            <a:ext cx="4572000" cy="339725"/>
          </a:xfrm>
          <a:prstGeom prst="rect">
            <a:avLst/>
          </a:prstGeom>
          <a:solidFill>
            <a:schemeClr val="tx2">
              <a:lumMod val="85000"/>
            </a:schemeClr>
          </a:solidFill>
        </p:spPr>
        <p:txBody>
          <a:bodyPr>
            <a:spAutoFit/>
          </a:bodyPr>
          <a:lstStyle/>
          <a:p>
            <a:pPr eaLnBrk="1" hangingPunct="1">
              <a:defRPr/>
            </a:pPr>
            <a:r>
              <a:rPr lang="fr-FR" sz="1600" b="1" dirty="0">
                <a:solidFill>
                  <a:srgbClr val="FFFFFF"/>
                </a:solidFill>
                <a:latin typeface="Century Gothic" pitchFamily="34" charset="0"/>
              </a:rPr>
              <a:t>COOPERATION BETWEEN TUNISIA- UK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oneTexte 1"/>
          <p:cNvSpPr txBox="1">
            <a:spLocks noChangeArrowheads="1"/>
          </p:cNvSpPr>
          <p:nvPr/>
        </p:nvSpPr>
        <p:spPr bwMode="auto">
          <a:xfrm>
            <a:off x="1042988" y="1196975"/>
            <a:ext cx="3600450" cy="40005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fontAlgn="auto" hangingPunct="1">
              <a:spcBef>
                <a:spcPts val="0"/>
              </a:spcBef>
              <a:spcAft>
                <a:spcPts val="0"/>
              </a:spcAft>
              <a:defRPr/>
            </a:pPr>
            <a:r>
              <a:rPr lang="fr-FR" sz="2000" b="1" kern="0" dirty="0">
                <a:solidFill>
                  <a:srgbClr val="FFFFFF"/>
                </a:solidFill>
              </a:rPr>
              <a:t>Global </a:t>
            </a:r>
            <a:r>
              <a:rPr lang="fr-FR" sz="2000" b="1" kern="0" dirty="0" err="1">
                <a:solidFill>
                  <a:srgbClr val="FFFFFF"/>
                </a:solidFill>
              </a:rPr>
              <a:t>C</a:t>
            </a:r>
            <a:r>
              <a:rPr lang="fr-FR" sz="2000" b="1" kern="0" dirty="0" err="1" smtClean="0">
                <a:solidFill>
                  <a:srgbClr val="FFFFFF"/>
                </a:solidFill>
              </a:rPr>
              <a:t>ompetitiveness</a:t>
            </a:r>
            <a:endParaRPr lang="fr-FR" sz="2000" b="1" kern="0" dirty="0" smtClean="0">
              <a:solidFill>
                <a:srgbClr val="FFFFFF"/>
              </a:solidFill>
              <a:cs typeface="Simplified Arabic"/>
            </a:endParaRPr>
          </a:p>
        </p:txBody>
      </p:sp>
      <p:pic>
        <p:nvPicPr>
          <p:cNvPr id="169987" name="Picture 11" descr="http://tunisia2020-548724.c.cdn77.org/wp-content/uploads/2016/09/BL-JA-TUNISIA-WEBSITE-A%CC%80-PROPOS-E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16113"/>
            <a:ext cx="8748713" cy="25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988" name="Rectangle 28"/>
          <p:cNvSpPr txBox="1">
            <a:spLocks noChangeArrowheads="1"/>
          </p:cNvSpPr>
          <p:nvPr/>
        </p:nvSpPr>
        <p:spPr bwMode="auto">
          <a:xfrm>
            <a:off x="139700" y="363538"/>
            <a:ext cx="87915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 typeface="Arial" panose="020B0604020202020204" pitchFamily="34" charset="0"/>
              <a:buNone/>
            </a:pPr>
            <a:r>
              <a:rPr lang="fr-FR" altLang="fr-FR" sz="2400" b="1">
                <a:solidFill>
                  <a:schemeClr val="tx2"/>
                </a:solidFill>
                <a:latin typeface="Century Gothic" panose="020B0502020202020204" pitchFamily="34" charset="0"/>
                <a:cs typeface="Simplified Arabic" panose="02020603050405020304" pitchFamily="18" charset="-78"/>
              </a:rPr>
              <a:t>Competitive Economy</a:t>
            </a:r>
          </a:p>
        </p:txBody>
      </p:sp>
      <p:sp>
        <p:nvSpPr>
          <p:cNvPr id="7" name="Rectangle 6"/>
          <p:cNvSpPr/>
          <p:nvPr/>
        </p:nvSpPr>
        <p:spPr>
          <a:xfrm>
            <a:off x="412750" y="4813300"/>
            <a:ext cx="8462963" cy="1262063"/>
          </a:xfrm>
          <a:prstGeom prst="rect">
            <a:avLst/>
          </a:prstGeom>
          <a:solidFill>
            <a:schemeClr val="tx2">
              <a:lumMod val="95000"/>
            </a:schemeClr>
          </a:solidFill>
        </p:spPr>
        <p:txBody>
          <a:bodyPr>
            <a:spAutoFit/>
          </a:bodyPr>
          <a:lstStyle/>
          <a:p>
            <a:pPr>
              <a:defRPr/>
            </a:pPr>
            <a:r>
              <a:rPr lang="fr-FR" sz="1600" dirty="0" err="1">
                <a:solidFill>
                  <a:srgbClr val="000000"/>
                </a:solidFill>
                <a:latin typeface="+mj-lt"/>
              </a:rPr>
              <a:t>Tunisia</a:t>
            </a:r>
            <a:r>
              <a:rPr lang="fr-FR" sz="1600" dirty="0">
                <a:solidFill>
                  <a:srgbClr val="000000"/>
                </a:solidFill>
                <a:latin typeface="+mj-lt"/>
              </a:rPr>
              <a:t> </a:t>
            </a:r>
            <a:r>
              <a:rPr lang="fr-FR" sz="1600" dirty="0" err="1">
                <a:solidFill>
                  <a:srgbClr val="000000"/>
                </a:solidFill>
                <a:latin typeface="+mj-lt"/>
              </a:rPr>
              <a:t>is</a:t>
            </a:r>
            <a:r>
              <a:rPr lang="fr-FR" sz="1600" dirty="0">
                <a:solidFill>
                  <a:srgbClr val="000000"/>
                </a:solidFill>
                <a:latin typeface="+mj-lt"/>
              </a:rPr>
              <a:t> </a:t>
            </a:r>
            <a:r>
              <a:rPr lang="fr-FR" sz="1600" dirty="0" err="1">
                <a:solidFill>
                  <a:srgbClr val="000000"/>
                </a:solidFill>
                <a:latin typeface="+mj-lt"/>
              </a:rPr>
              <a:t>ranked</a:t>
            </a:r>
            <a:r>
              <a:rPr lang="fr-FR" sz="1600" dirty="0">
                <a:solidFill>
                  <a:srgbClr val="000000"/>
                </a:solidFill>
                <a:latin typeface="+mj-lt"/>
              </a:rPr>
              <a:t> </a:t>
            </a:r>
            <a:r>
              <a:rPr lang="fr-FR" sz="2800" b="1" dirty="0">
                <a:solidFill>
                  <a:schemeClr val="accent3">
                    <a:lumMod val="75000"/>
                  </a:schemeClr>
                </a:solidFill>
                <a:latin typeface="Calibri" pitchFamily="34" charset="0"/>
                <a:cs typeface="Calibri" pitchFamily="34" charset="0"/>
              </a:rPr>
              <a:t>1</a:t>
            </a:r>
            <a:r>
              <a:rPr lang="fr-FR" sz="2800" b="1" baseline="30000" dirty="0">
                <a:solidFill>
                  <a:schemeClr val="accent3">
                    <a:lumMod val="75000"/>
                  </a:schemeClr>
                </a:solidFill>
                <a:latin typeface="Calibri" pitchFamily="34" charset="0"/>
                <a:cs typeface="Calibri" pitchFamily="34" charset="0"/>
              </a:rPr>
              <a:t>st</a:t>
            </a:r>
            <a:r>
              <a:rPr lang="fr-FR" sz="1600" b="1" baseline="30000" dirty="0">
                <a:solidFill>
                  <a:schemeClr val="accent3">
                    <a:lumMod val="75000"/>
                  </a:schemeClr>
                </a:solidFill>
                <a:latin typeface="Calibri" pitchFamily="34" charset="0"/>
                <a:cs typeface="Calibri" pitchFamily="34" charset="0"/>
              </a:rPr>
              <a:t> </a:t>
            </a:r>
            <a:r>
              <a:rPr lang="fr-FR" sz="1600" dirty="0">
                <a:solidFill>
                  <a:srgbClr val="000000"/>
                </a:solidFill>
                <a:latin typeface="+mj-lt"/>
              </a:rPr>
              <a:t> in </a:t>
            </a:r>
            <a:r>
              <a:rPr lang="fr-FR" sz="1600" dirty="0" err="1">
                <a:solidFill>
                  <a:srgbClr val="C00000"/>
                </a:solidFill>
                <a:latin typeface="+mj-lt"/>
              </a:rPr>
              <a:t>North</a:t>
            </a:r>
            <a:r>
              <a:rPr lang="fr-FR" sz="1600" dirty="0">
                <a:solidFill>
                  <a:srgbClr val="C00000"/>
                </a:solidFill>
                <a:latin typeface="+mj-lt"/>
              </a:rPr>
              <a:t> </a:t>
            </a:r>
            <a:r>
              <a:rPr lang="fr-FR" sz="1600" dirty="0" err="1">
                <a:solidFill>
                  <a:srgbClr val="C00000"/>
                </a:solidFill>
                <a:latin typeface="+mj-lt"/>
              </a:rPr>
              <a:t>Africa</a:t>
            </a:r>
            <a:r>
              <a:rPr lang="fr-FR" sz="1600" dirty="0">
                <a:solidFill>
                  <a:srgbClr val="C00000"/>
                </a:solidFill>
                <a:latin typeface="+mj-lt"/>
              </a:rPr>
              <a:t> </a:t>
            </a:r>
            <a:r>
              <a:rPr lang="fr-FR" sz="1600" dirty="0">
                <a:solidFill>
                  <a:srgbClr val="000000"/>
                </a:solidFill>
                <a:latin typeface="+mj-lt"/>
              </a:rPr>
              <a:t>in </a:t>
            </a:r>
            <a:r>
              <a:rPr lang="fr-FR" sz="1600" dirty="0" err="1">
                <a:solidFill>
                  <a:srgbClr val="000000"/>
                </a:solidFill>
                <a:latin typeface="+mj-lt"/>
              </a:rPr>
              <a:t>terms</a:t>
            </a:r>
            <a:r>
              <a:rPr lang="fr-FR" sz="1600" dirty="0">
                <a:solidFill>
                  <a:srgbClr val="000000"/>
                </a:solidFill>
                <a:latin typeface="+mj-lt"/>
              </a:rPr>
              <a:t> of:</a:t>
            </a:r>
          </a:p>
          <a:p>
            <a:pPr>
              <a:defRPr/>
            </a:pPr>
            <a:endParaRPr lang="fr-FR" sz="1600" dirty="0">
              <a:solidFill>
                <a:srgbClr val="000000"/>
              </a:solidFill>
              <a:latin typeface="+mj-lt"/>
            </a:endParaRPr>
          </a:p>
          <a:p>
            <a:pPr marL="285750" indent="-285750">
              <a:buClr>
                <a:srgbClr val="C00000"/>
              </a:buClr>
              <a:buFont typeface="Arial" pitchFamily="34" charset="0"/>
              <a:buChar char="•"/>
              <a:defRPr/>
            </a:pPr>
            <a:r>
              <a:rPr lang="fr-FR" sz="1600" b="1" dirty="0">
                <a:solidFill>
                  <a:srgbClr val="000000"/>
                </a:solidFill>
                <a:latin typeface="+mj-lt"/>
              </a:rPr>
              <a:t>Innovation | </a:t>
            </a:r>
            <a:r>
              <a:rPr lang="fr-FR" sz="1600" dirty="0">
                <a:solidFill>
                  <a:srgbClr val="000000"/>
                </a:solidFill>
                <a:latin typeface="+mj-lt"/>
              </a:rPr>
              <a:t>"Bloomberg Innovation Index 2017, Bloomberg"</a:t>
            </a:r>
          </a:p>
          <a:p>
            <a:pPr marL="285750" indent="-285750">
              <a:buClr>
                <a:srgbClr val="C00000"/>
              </a:buClr>
              <a:buFont typeface="Arial" pitchFamily="34" charset="0"/>
              <a:buChar char="•"/>
              <a:defRPr/>
            </a:pPr>
            <a:r>
              <a:rPr lang="fr-FR" sz="1600" b="1" dirty="0" err="1">
                <a:solidFill>
                  <a:srgbClr val="000000"/>
                </a:solidFill>
                <a:latin typeface="+mj-lt"/>
              </a:rPr>
              <a:t>Competitive</a:t>
            </a:r>
            <a:r>
              <a:rPr lang="fr-FR" sz="1600" b="1" dirty="0">
                <a:solidFill>
                  <a:srgbClr val="000000"/>
                </a:solidFill>
                <a:latin typeface="+mj-lt"/>
              </a:rPr>
              <a:t> </a:t>
            </a:r>
            <a:r>
              <a:rPr lang="fr-FR" sz="1600" b="1" dirty="0" err="1">
                <a:solidFill>
                  <a:srgbClr val="000000"/>
                </a:solidFill>
                <a:latin typeface="+mj-lt"/>
              </a:rPr>
              <a:t>Industrial</a:t>
            </a:r>
            <a:r>
              <a:rPr lang="fr-FR" sz="1600" b="1" dirty="0">
                <a:solidFill>
                  <a:srgbClr val="000000"/>
                </a:solidFill>
                <a:latin typeface="+mj-lt"/>
              </a:rPr>
              <a:t> Performance | "</a:t>
            </a:r>
            <a:r>
              <a:rPr lang="fr-FR" sz="1600" dirty="0" err="1">
                <a:solidFill>
                  <a:srgbClr val="000000"/>
                </a:solidFill>
                <a:latin typeface="+mj-lt"/>
              </a:rPr>
              <a:t>Competitive</a:t>
            </a:r>
            <a:r>
              <a:rPr lang="fr-FR" sz="1600" dirty="0">
                <a:solidFill>
                  <a:srgbClr val="000000"/>
                </a:solidFill>
                <a:latin typeface="+mj-lt"/>
              </a:rPr>
              <a:t> </a:t>
            </a:r>
            <a:r>
              <a:rPr lang="fr-FR" sz="1600" dirty="0" err="1">
                <a:solidFill>
                  <a:srgbClr val="000000"/>
                </a:solidFill>
                <a:latin typeface="+mj-lt"/>
              </a:rPr>
              <a:t>Industrial</a:t>
            </a:r>
            <a:r>
              <a:rPr lang="fr-FR" sz="1600" dirty="0">
                <a:solidFill>
                  <a:srgbClr val="000000"/>
                </a:solidFill>
                <a:latin typeface="+mj-lt"/>
              </a:rPr>
              <a:t> Performance Index 2016, UNIDO"</a:t>
            </a:r>
          </a:p>
        </p:txBody>
      </p:sp>
      <p:sp>
        <p:nvSpPr>
          <p:cNvPr id="2" name="ZoneTexte 1"/>
          <p:cNvSpPr txBox="1"/>
          <p:nvPr/>
        </p:nvSpPr>
        <p:spPr>
          <a:xfrm rot="21210535">
            <a:off x="406400" y="1804988"/>
            <a:ext cx="936625" cy="368300"/>
          </a:xfrm>
          <a:prstGeom prst="rect">
            <a:avLst/>
          </a:prstGeom>
          <a:solidFill>
            <a:schemeClr val="tx2">
              <a:lumMod val="95000"/>
            </a:schemeClr>
          </a:solidFill>
        </p:spPr>
        <p:txBody>
          <a:bodyPr>
            <a:spAutoFit/>
          </a:bodyPr>
          <a:lstStyle/>
          <a:p>
            <a:pPr algn="ctr">
              <a:defRPr/>
            </a:pPr>
            <a:r>
              <a:rPr lang="fr-FR" b="1" dirty="0"/>
              <a:t>2016</a:t>
            </a:r>
          </a:p>
        </p:txBody>
      </p:sp>
      <p:sp>
        <p:nvSpPr>
          <p:cNvPr id="8" name="ZoneTexte 7"/>
          <p:cNvSpPr txBox="1"/>
          <p:nvPr/>
        </p:nvSpPr>
        <p:spPr>
          <a:xfrm rot="21210535">
            <a:off x="179388" y="2778125"/>
            <a:ext cx="1163637" cy="369888"/>
          </a:xfrm>
          <a:prstGeom prst="rect">
            <a:avLst/>
          </a:prstGeom>
          <a:solidFill>
            <a:schemeClr val="tx2">
              <a:lumMod val="95000"/>
            </a:schemeClr>
          </a:solidFill>
        </p:spPr>
        <p:txBody>
          <a:bodyPr>
            <a:spAutoFit/>
          </a:bodyPr>
          <a:lstStyle/>
          <a:p>
            <a:pPr algn="ctr">
              <a:defRPr/>
            </a:pPr>
            <a:r>
              <a:rPr lang="fr-FR" b="1" dirty="0"/>
              <a:t>74/ 189</a:t>
            </a:r>
          </a:p>
        </p:txBody>
      </p:sp>
    </p:spTree>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25" y="1270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035"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0575" y="6269038"/>
            <a:ext cx="568325"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72036" name="Picture 6" descr="http://www.bg-group.com/_layouts/images/bg.web.bggroup.ara2010/bggroup-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9763" y="6275388"/>
            <a:ext cx="50323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037" name="Picture 8" descr="Bulgi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138" y="6264275"/>
            <a:ext cx="7921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038" name="Picture 21" descr="Aero Stanrew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49775" y="6245225"/>
            <a:ext cx="871538"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039"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95963" y="6253163"/>
            <a:ext cx="1019175"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Lst>
        </p:spPr>
      </p:pic>
      <p:pic>
        <p:nvPicPr>
          <p:cNvPr id="172040" name="Picture 13" descr="Doncaster - The Great British Cabl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64388" y="6269038"/>
            <a:ext cx="13096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Down Arrow Callout 370"/>
          <p:cNvSpPr/>
          <p:nvPr/>
        </p:nvSpPr>
        <p:spPr>
          <a:xfrm>
            <a:off x="0" y="12700"/>
            <a:ext cx="3132138" cy="2552700"/>
          </a:xfrm>
          <a:prstGeom prst="rect">
            <a:avLst/>
          </a:prstGeom>
          <a:solidFill>
            <a:srgbClr val="00467F"/>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indent="-95250" algn="ctr" eaLnBrk="1" hangingPunct="1">
              <a:buClr>
                <a:srgbClr val="99CCFF"/>
              </a:buClr>
              <a:buSzPct val="105000"/>
              <a:defRPr/>
            </a:pPr>
            <a:r>
              <a:rPr lang="fr-FR" sz="4800" b="1" dirty="0" smtClean="0">
                <a:solidFill>
                  <a:srgbClr val="FFFF00"/>
                </a:solidFill>
              </a:rPr>
              <a:t>3 </a:t>
            </a:r>
            <a:r>
              <a:rPr lang="en-ZA" sz="4800" b="1" dirty="0" smtClean="0">
                <a:solidFill>
                  <a:srgbClr val="FFFF00"/>
                </a:solidFill>
              </a:rPr>
              <a:t>455 </a:t>
            </a:r>
            <a:r>
              <a:rPr lang="en-ZA" sz="4800" b="1" baseline="30000" dirty="0" smtClean="0">
                <a:solidFill>
                  <a:srgbClr val="FFFF00"/>
                </a:solidFill>
              </a:rPr>
              <a:t> </a:t>
            </a:r>
            <a:endParaRPr lang="en-ZA" sz="4800" b="1" baseline="30000" dirty="0" smtClean="0">
              <a:solidFill>
                <a:srgbClr val="FFFF00"/>
              </a:solidFill>
            </a:endParaRPr>
          </a:p>
          <a:p>
            <a:pPr indent="-95250" algn="ctr" eaLnBrk="1" hangingPunct="1">
              <a:buClr>
                <a:srgbClr val="99CCFF"/>
              </a:buClr>
              <a:buSzPct val="105000"/>
              <a:defRPr/>
            </a:pPr>
            <a:r>
              <a:rPr lang="en-ZA" sz="2800" b="1" dirty="0">
                <a:solidFill>
                  <a:srgbClr val="FFFFFF"/>
                </a:solidFill>
              </a:rPr>
              <a:t>F</a:t>
            </a:r>
            <a:r>
              <a:rPr lang="en-ZA" sz="2800" b="1" dirty="0" smtClean="0">
                <a:solidFill>
                  <a:srgbClr val="FFFFFF"/>
                </a:solidFill>
              </a:rPr>
              <a:t>oreign </a:t>
            </a:r>
            <a:r>
              <a:rPr lang="fr-FR" sz="2800" b="1" dirty="0" err="1" smtClean="0">
                <a:solidFill>
                  <a:srgbClr val="FFFFFF"/>
                </a:solidFill>
              </a:rPr>
              <a:t>Companies</a:t>
            </a:r>
            <a:endParaRPr lang="fr-FR" sz="2800" b="1" dirty="0" smtClean="0">
              <a:solidFill>
                <a:srgbClr val="FFFFFF"/>
              </a:solidFill>
            </a:endParaRPr>
          </a:p>
        </p:txBody>
      </p:sp>
      <p:sp>
        <p:nvSpPr>
          <p:cNvPr id="14" name="Down Arrow Callout 370"/>
          <p:cNvSpPr/>
          <p:nvPr/>
        </p:nvSpPr>
        <p:spPr>
          <a:xfrm>
            <a:off x="3201988" y="12700"/>
            <a:ext cx="2809875" cy="2552700"/>
          </a:xfrm>
          <a:prstGeom prst="rect">
            <a:avLst/>
          </a:prstGeom>
          <a:solidFill>
            <a:srgbClr val="00467F"/>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indent="-95250" algn="ctr" eaLnBrk="1" hangingPunct="1">
              <a:buClr>
                <a:srgbClr val="99CCFF"/>
              </a:buClr>
              <a:buSzPct val="105000"/>
              <a:defRPr/>
            </a:pPr>
            <a:r>
              <a:rPr lang="fr-FR" sz="4800" b="1" dirty="0" smtClean="0">
                <a:solidFill>
                  <a:srgbClr val="FFFF00"/>
                </a:solidFill>
              </a:rPr>
              <a:t>22 121</a:t>
            </a:r>
            <a:endParaRPr lang="fr-FR" sz="4800" b="1" dirty="0" smtClean="0">
              <a:solidFill>
                <a:srgbClr val="FFFF00"/>
              </a:solidFill>
            </a:endParaRPr>
          </a:p>
          <a:p>
            <a:pPr indent="-95250" algn="ctr" eaLnBrk="1" hangingPunct="1">
              <a:buClr>
                <a:srgbClr val="99CCFF"/>
              </a:buClr>
              <a:buSzPct val="105000"/>
              <a:defRPr/>
            </a:pPr>
            <a:r>
              <a:rPr lang="fr-FR" sz="2800" b="1" dirty="0">
                <a:solidFill>
                  <a:srgbClr val="FFFFFF"/>
                </a:solidFill>
              </a:rPr>
              <a:t>MTND</a:t>
            </a:r>
          </a:p>
        </p:txBody>
      </p:sp>
      <p:sp>
        <p:nvSpPr>
          <p:cNvPr id="15" name="Down Arrow Callout 370"/>
          <p:cNvSpPr/>
          <p:nvPr/>
        </p:nvSpPr>
        <p:spPr>
          <a:xfrm>
            <a:off x="6102350" y="12700"/>
            <a:ext cx="3019425" cy="2552700"/>
          </a:xfrm>
          <a:prstGeom prst="rect">
            <a:avLst/>
          </a:prstGeom>
          <a:solidFill>
            <a:srgbClr val="00467F"/>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indent="-95250" algn="ctr" eaLnBrk="1" hangingPunct="1">
              <a:buClr>
                <a:srgbClr val="99CCFF"/>
              </a:buClr>
              <a:buSzPct val="105000"/>
              <a:defRPr/>
            </a:pPr>
            <a:r>
              <a:rPr lang="fr-FR" sz="4800" b="1" dirty="0" smtClean="0">
                <a:solidFill>
                  <a:srgbClr val="FFFF00"/>
                </a:solidFill>
              </a:rPr>
              <a:t>376 471 </a:t>
            </a:r>
            <a:endParaRPr lang="fr-FR" sz="4800" b="1" dirty="0" smtClean="0">
              <a:solidFill>
                <a:srgbClr val="FFFF00"/>
              </a:solidFill>
            </a:endParaRPr>
          </a:p>
          <a:p>
            <a:pPr indent="-95250" algn="ctr" eaLnBrk="1" hangingPunct="1">
              <a:buClr>
                <a:srgbClr val="99CCFF"/>
              </a:buClr>
              <a:buSzPct val="105000"/>
              <a:defRPr/>
            </a:pPr>
            <a:r>
              <a:rPr lang="fr-FR" sz="2800" b="1" dirty="0" smtClean="0">
                <a:solidFill>
                  <a:srgbClr val="FFFFFF"/>
                </a:solidFill>
              </a:rPr>
              <a:t>Jobs</a:t>
            </a:r>
            <a:endParaRPr lang="fr-FR" sz="2800" b="1" dirty="0">
              <a:solidFill>
                <a:srgbClr val="FFFFFF"/>
              </a:solidFill>
            </a:endParaRPr>
          </a:p>
        </p:txBody>
      </p:sp>
      <p:pic>
        <p:nvPicPr>
          <p:cNvPr id="172044" name="Picture 3" descr="C:\Users\Ramzi GARA\Desktop\stelia.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71625" y="5143500"/>
            <a:ext cx="131445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82" name="Picture 2" descr="ph_mecaniqu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4213" y="1412875"/>
            <a:ext cx="1323975" cy="83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3" name="Picture 3"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213" y="2276475"/>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4" name="Picture 4" descr="ph_industri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92525" y="4564063"/>
            <a:ext cx="1366838" cy="83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5" name="Picture 5"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92525" y="5526088"/>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6" name="Picture 6" descr="ph_agr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188" y="4724400"/>
            <a:ext cx="132397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7" name="Picture 7"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1188" y="5589588"/>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8"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54438" y="2903538"/>
            <a:ext cx="1101725" cy="936625"/>
          </a:xfrm>
          <a:prstGeom prst="rect">
            <a:avLst/>
          </a:prstGeom>
          <a:noFill/>
          <a:ln w="12700" algn="ctr">
            <a:solidFill>
              <a:srgbClr val="FF9966"/>
            </a:solidFill>
            <a:miter lim="800000"/>
            <a:headEnd type="none" w="sm" len="sm"/>
            <a:tailEnd type="none" w="sm" len="sm"/>
          </a:ln>
          <a:effectLst>
            <a:outerShdw dist="107763" dir="2700000" algn="ctr" rotWithShape="0">
              <a:srgbClr val="FF9966">
                <a:alpha val="50000"/>
              </a:srgbClr>
            </a:outerShdw>
          </a:effectLst>
          <a:extLst>
            <a:ext uri="{909E8E84-426E-40DD-AFC4-6F175D3DCCD1}">
              <a14:hiddenFill xmlns:a14="http://schemas.microsoft.com/office/drawing/2010/main">
                <a:solidFill>
                  <a:srgbClr val="FFFFFF"/>
                </a:solidFill>
              </a14:hiddenFill>
            </a:ext>
          </a:extLst>
        </p:spPr>
      </p:pic>
      <p:sp>
        <p:nvSpPr>
          <p:cNvPr id="174089" name="Text Box 9"/>
          <p:cNvSpPr txBox="1">
            <a:spLocks noChangeArrowheads="1"/>
          </p:cNvSpPr>
          <p:nvPr/>
        </p:nvSpPr>
        <p:spPr bwMode="auto">
          <a:xfrm>
            <a:off x="3556000" y="4033838"/>
            <a:ext cx="1477963"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  Call Centres &amp; BPO </a:t>
            </a:r>
          </a:p>
        </p:txBody>
      </p:sp>
      <p:graphicFrame>
        <p:nvGraphicFramePr>
          <p:cNvPr id="174090" name="Object 10"/>
          <p:cNvGraphicFramePr>
            <a:graphicFrameLocks noGrp="1" noChangeAspect="1"/>
          </p:cNvGraphicFramePr>
          <p:nvPr>
            <p:ph sz="quarter" idx="1"/>
          </p:nvPr>
        </p:nvGraphicFramePr>
        <p:xfrm>
          <a:off x="6804025" y="3008313"/>
          <a:ext cx="1368425" cy="863600"/>
        </p:xfrm>
        <a:graphic>
          <a:graphicData uri="http://schemas.openxmlformats.org/presentationml/2006/ole">
            <mc:AlternateContent xmlns:mc="http://schemas.openxmlformats.org/markup-compatibility/2006">
              <mc:Choice xmlns:v="urn:schemas-microsoft-com:vml" Requires="v">
                <p:oleObj spid="_x0000_s174112" name="Bitmap Image" r:id="rId9" imgW="2476190" imgH="1009791" progId="Paint.Picture">
                  <p:embed/>
                </p:oleObj>
              </mc:Choice>
              <mc:Fallback>
                <p:oleObj name="Bitmap Image" r:id="rId9" imgW="2476190" imgH="1009791" progId="Paint.Picture">
                  <p:embed/>
                  <p:pic>
                    <p:nvPicPr>
                      <p:cNvPr id="0" name="Object 10"/>
                      <p:cNvPicPr>
                        <a:picLocks noGrp="1"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04025" y="3008313"/>
                        <a:ext cx="1368425" cy="86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folHlink"/>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74091" name="Picture 11"/>
          <p:cNvPicPr>
            <a:picLocks noGrp="1" noChangeAspect="1" noChangeArrowheads="1"/>
          </p:cNvPicPr>
          <p:nvPr>
            <p:ph sz="quarter" idx="2"/>
          </p:nvPr>
        </p:nvPicPr>
        <p:blipFill>
          <a:blip r:embed="rId11">
            <a:extLst>
              <a:ext uri="{28A0092B-C50C-407E-A947-70E740481C1C}">
                <a14:useLocalDpi xmlns:a14="http://schemas.microsoft.com/office/drawing/2010/main" val="0"/>
              </a:ext>
            </a:extLst>
          </a:blip>
          <a:srcRect/>
          <a:stretch>
            <a:fillRect/>
          </a:stretch>
        </p:blipFill>
        <p:spPr>
          <a:xfrm>
            <a:off x="6846888" y="4564063"/>
            <a:ext cx="1281112" cy="887412"/>
          </a:xfrm>
          <a:extLst>
            <a:ext uri="{91240B29-F687-4F45-9708-019B960494DF}">
              <a14:hiddenLine xmlns:a14="http://schemas.microsoft.com/office/drawing/2010/main" w="9525" algn="ctr">
                <a:solidFill>
                  <a:schemeClr val="folHlink"/>
                </a:solidFill>
                <a:miter lim="800000"/>
                <a:headEnd/>
                <a:tailEnd/>
              </a14:hiddenLine>
            </a:ext>
          </a:extLst>
        </p:spPr>
      </p:pic>
      <p:pic>
        <p:nvPicPr>
          <p:cNvPr id="174092" name="Picture 12" descr="AP071115061724"/>
          <p:cNvPicPr>
            <a:picLocks noGrp="1" noChangeAspect="1" noChangeArrowheads="1"/>
          </p:cNvPicPr>
          <p:nvPr>
            <p:ph sz="quarter" idx="3"/>
          </p:nvPr>
        </p:nvPicPr>
        <p:blipFill>
          <a:blip r:embed="rId12">
            <a:extLst>
              <a:ext uri="{28A0092B-C50C-407E-A947-70E740481C1C}">
                <a14:useLocalDpi xmlns:a14="http://schemas.microsoft.com/office/drawing/2010/main" val="0"/>
              </a:ext>
            </a:extLst>
          </a:blip>
          <a:srcRect/>
          <a:stretch>
            <a:fillRect/>
          </a:stretch>
        </p:blipFill>
        <p:spPr>
          <a:xfrm>
            <a:off x="669925" y="2781300"/>
            <a:ext cx="1295400" cy="1163638"/>
          </a:xfrm>
          <a:noFill/>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74093" name="Text Box 13"/>
          <p:cNvSpPr txBox="1">
            <a:spLocks noChangeArrowheads="1"/>
          </p:cNvSpPr>
          <p:nvPr/>
        </p:nvSpPr>
        <p:spPr bwMode="auto">
          <a:xfrm>
            <a:off x="6804025" y="4016375"/>
            <a:ext cx="14478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Renewable Energies </a:t>
            </a:r>
          </a:p>
        </p:txBody>
      </p:sp>
      <p:sp>
        <p:nvSpPr>
          <p:cNvPr id="174094" name="Text Box 14"/>
          <p:cNvSpPr txBox="1">
            <a:spLocks noChangeArrowheads="1"/>
          </p:cNvSpPr>
          <p:nvPr/>
        </p:nvSpPr>
        <p:spPr bwMode="auto">
          <a:xfrm>
            <a:off x="6865938" y="5646738"/>
            <a:ext cx="1319212"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Financial Services </a:t>
            </a:r>
          </a:p>
        </p:txBody>
      </p:sp>
      <p:sp>
        <p:nvSpPr>
          <p:cNvPr id="174095" name="Text Box 15"/>
          <p:cNvSpPr txBox="1">
            <a:spLocks noChangeArrowheads="1"/>
          </p:cNvSpPr>
          <p:nvPr/>
        </p:nvSpPr>
        <p:spPr bwMode="auto">
          <a:xfrm>
            <a:off x="827088" y="2349500"/>
            <a:ext cx="86518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Electronics</a:t>
            </a:r>
          </a:p>
        </p:txBody>
      </p:sp>
      <p:sp>
        <p:nvSpPr>
          <p:cNvPr id="174096" name="Text Box 16"/>
          <p:cNvSpPr txBox="1">
            <a:spLocks noChangeArrowheads="1"/>
          </p:cNvSpPr>
          <p:nvPr/>
        </p:nvSpPr>
        <p:spPr bwMode="auto">
          <a:xfrm>
            <a:off x="3692525" y="5599113"/>
            <a:ext cx="133191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Textiles &amp; Clothing</a:t>
            </a:r>
          </a:p>
        </p:txBody>
      </p:sp>
      <p:sp>
        <p:nvSpPr>
          <p:cNvPr id="174097" name="Text Box 17"/>
          <p:cNvSpPr txBox="1">
            <a:spLocks noChangeArrowheads="1"/>
          </p:cNvSpPr>
          <p:nvPr/>
        </p:nvSpPr>
        <p:spPr bwMode="auto">
          <a:xfrm>
            <a:off x="395288" y="5589588"/>
            <a:ext cx="18446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Food processing industries</a:t>
            </a:r>
          </a:p>
        </p:txBody>
      </p:sp>
      <p:sp>
        <p:nvSpPr>
          <p:cNvPr id="174098" name="Text Box 18"/>
          <p:cNvSpPr txBox="1">
            <a:spLocks noChangeArrowheads="1"/>
          </p:cNvSpPr>
          <p:nvPr/>
        </p:nvSpPr>
        <p:spPr bwMode="auto">
          <a:xfrm>
            <a:off x="1030288" y="4059238"/>
            <a:ext cx="423862"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ICT </a:t>
            </a:r>
          </a:p>
        </p:txBody>
      </p:sp>
      <p:pic>
        <p:nvPicPr>
          <p:cNvPr id="174099" name="Picture 19" descr="12195_1_5"/>
          <p:cNvPicPr>
            <a:picLocks noGrp="1" noChangeAspect="1" noChangeArrowheads="1"/>
          </p:cNvPicPr>
          <p:nvPr>
            <p:ph sz="quarter" idx="4"/>
          </p:nvPr>
        </p:nvPicPr>
        <p:blipFill>
          <a:blip r:embed="rId13">
            <a:extLst>
              <a:ext uri="{28A0092B-C50C-407E-A947-70E740481C1C}">
                <a14:useLocalDpi xmlns:a14="http://schemas.microsoft.com/office/drawing/2010/main" val="0"/>
              </a:ext>
            </a:extLst>
          </a:blip>
          <a:srcRect/>
          <a:stretch>
            <a:fillRect/>
          </a:stretch>
        </p:blipFill>
        <p:spPr>
          <a:xfrm>
            <a:off x="6804025" y="1365250"/>
            <a:ext cx="1295400" cy="1008063"/>
          </a:xfrm>
          <a:noFill/>
          <a:extLs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4100" name="Picture 20" descr="Aerospace(wrklc2)">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635375" y="1484313"/>
            <a:ext cx="13366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01" name="Text Box 21"/>
          <p:cNvSpPr txBox="1">
            <a:spLocks noChangeArrowheads="1"/>
          </p:cNvSpPr>
          <p:nvPr/>
        </p:nvSpPr>
        <p:spPr bwMode="auto">
          <a:xfrm>
            <a:off x="6659563" y="2478088"/>
            <a:ext cx="1706562"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Automotive components </a:t>
            </a:r>
          </a:p>
        </p:txBody>
      </p:sp>
      <p:sp>
        <p:nvSpPr>
          <p:cNvPr id="174102" name="Text Box 22"/>
          <p:cNvSpPr txBox="1">
            <a:spLocks noChangeArrowheads="1"/>
          </p:cNvSpPr>
          <p:nvPr/>
        </p:nvSpPr>
        <p:spPr bwMode="auto">
          <a:xfrm>
            <a:off x="3563938" y="2349500"/>
            <a:ext cx="14700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3" tIns="45717" rIns="91433" bIns="45717">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FontTx/>
              <a:buNone/>
            </a:pPr>
            <a:r>
              <a:rPr lang="en-GB" altLang="en-US" sz="1000" b="1">
                <a:latin typeface="Arial" panose="020B0604020202020204" pitchFamily="34" charset="0"/>
              </a:rPr>
              <a:t>Aerospace Industries</a:t>
            </a:r>
          </a:p>
        </p:txBody>
      </p:sp>
      <p:pic>
        <p:nvPicPr>
          <p:cNvPr id="174103" name="Picture 27"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35375" y="2349500"/>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4" name="Picture 28"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2125" y="4005263"/>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5" name="Picture 29"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5938" y="5575300"/>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6" name="Picture 30"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63950" y="4035425"/>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7" name="Picture 31"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925" y="4059238"/>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8" name="Picture 32" descr="sep_secteu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4025" y="2479675"/>
            <a:ext cx="1323975"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333" name="Text Box 5"/>
          <p:cNvSpPr txBox="1">
            <a:spLocks noChangeArrowheads="1"/>
          </p:cNvSpPr>
          <p:nvPr/>
        </p:nvSpPr>
        <p:spPr bwMode="auto">
          <a:xfrm>
            <a:off x="179388" y="223838"/>
            <a:ext cx="7129462"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defTabSz="801688">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01688">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01688">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01688">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01688">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defRPr/>
            </a:pPr>
            <a:r>
              <a:rPr lang="fr-FR" altLang="en-US" sz="2400" b="1" dirty="0" err="1" smtClean="0">
                <a:solidFill>
                  <a:schemeClr val="tx2"/>
                </a:solidFill>
                <a:effectLst>
                  <a:outerShdw blurRad="38100" dist="38100" dir="2700000" algn="tl">
                    <a:srgbClr val="000000">
                      <a:alpha val="43137"/>
                    </a:srgbClr>
                  </a:outerShdw>
                </a:effectLst>
                <a:latin typeface="MS Reference Sans Serif" panose="020B0604030504040204" pitchFamily="34" charset="0"/>
              </a:rPr>
              <a:t>Huge</a:t>
            </a: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 Investment </a:t>
            </a:r>
            <a:r>
              <a:rPr lang="fr-FR" altLang="en-US" sz="2400" b="1" dirty="0" err="1" smtClean="0">
                <a:solidFill>
                  <a:schemeClr val="tx2"/>
                </a:solidFill>
                <a:effectLst>
                  <a:outerShdw blurRad="38100" dist="38100" dir="2700000" algn="tl">
                    <a:srgbClr val="000000">
                      <a:alpha val="43137"/>
                    </a:srgbClr>
                  </a:outerShdw>
                </a:effectLst>
                <a:latin typeface="MS Reference Sans Serif" panose="020B0604030504040204" pitchFamily="34" charset="0"/>
              </a:rPr>
              <a:t>Opportunities</a:t>
            </a:r>
            <a:endPar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endParaRPr>
          </a:p>
        </p:txBody>
      </p:sp>
    </p:spTree>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0" name="Picture 11" descr="A350XWB-2"/>
          <p:cNvPicPr>
            <a:picLocks noChangeAspect="1" noChangeArrowheads="1"/>
          </p:cNvPicPr>
          <p:nvPr/>
        </p:nvPicPr>
        <p:blipFill>
          <a:blip r:embed="rId3">
            <a:clrChange>
              <a:clrFrom>
                <a:srgbClr val="0171A3"/>
              </a:clrFrom>
              <a:clrTo>
                <a:srgbClr val="0171A3">
                  <a:alpha val="0"/>
                </a:srgbClr>
              </a:clrTo>
            </a:clrChange>
            <a:lum bright="4000"/>
          </a:blip>
          <a:srcRect/>
          <a:stretch>
            <a:fillRect/>
          </a:stretch>
        </p:blipFill>
        <p:spPr bwMode="auto">
          <a:xfrm rot="20753490">
            <a:off x="385763" y="3278188"/>
            <a:ext cx="3265487" cy="2652712"/>
          </a:xfrm>
          <a:prstGeom prst="rect">
            <a:avLst/>
          </a:prstGeom>
          <a:ln>
            <a:noFill/>
          </a:ln>
          <a:effectLst>
            <a:outerShdw blurRad="190500" algn="tl" rotWithShape="0">
              <a:srgbClr val="000000">
                <a:alpha val="70000"/>
              </a:srgbClr>
            </a:outerShdw>
          </a:effectLst>
        </p:spPr>
      </p:pic>
      <p:sp>
        <p:nvSpPr>
          <p:cNvPr id="176131" name="Rectangle 2052"/>
          <p:cNvSpPr>
            <a:spLocks noChangeArrowheads="1"/>
          </p:cNvSpPr>
          <p:nvPr/>
        </p:nvSpPr>
        <p:spPr bwMode="auto">
          <a:xfrm>
            <a:off x="3924300" y="4540250"/>
            <a:ext cx="1728788" cy="1008063"/>
          </a:xfrm>
          <a:prstGeom prst="rect">
            <a:avLst/>
          </a:prstGeom>
          <a:noFill/>
          <a:ln w="952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nSpc>
                <a:spcPct val="120000"/>
              </a:lnSpc>
              <a:spcBef>
                <a:spcPct val="0"/>
              </a:spcBef>
              <a:buClr>
                <a:srgbClr val="F19C05"/>
              </a:buClr>
              <a:buSzPct val="85000"/>
              <a:buFont typeface="Wingdings" panose="05000000000000000000" pitchFamily="2" charset="2"/>
              <a:buChar char="n"/>
            </a:pPr>
            <a:endParaRPr lang="en-GB" altLang="fr-FR" sz="1400">
              <a:solidFill>
                <a:srgbClr val="00507A"/>
              </a:solidFill>
              <a:latin typeface="Calibri" panose="020F0502020204030204" pitchFamily="34" charset="0"/>
            </a:endParaRPr>
          </a:p>
          <a:p>
            <a:pPr>
              <a:lnSpc>
                <a:spcPct val="120000"/>
              </a:lnSpc>
              <a:spcBef>
                <a:spcPct val="0"/>
              </a:spcBef>
              <a:buClr>
                <a:srgbClr val="F19C05"/>
              </a:buClr>
              <a:buSzPct val="85000"/>
              <a:buFont typeface="Wingdings" panose="05000000000000000000" pitchFamily="2" charset="2"/>
              <a:buChar char="n"/>
            </a:pPr>
            <a:r>
              <a:rPr lang="en-GB" altLang="fr-FR" sz="1400">
                <a:solidFill>
                  <a:srgbClr val="00507A"/>
                </a:solidFill>
                <a:latin typeface="Calibri" panose="020F0502020204030204" pitchFamily="34" charset="0"/>
              </a:rPr>
              <a:t>ZODIAC</a:t>
            </a:r>
          </a:p>
          <a:p>
            <a:pPr>
              <a:lnSpc>
                <a:spcPct val="120000"/>
              </a:lnSpc>
              <a:spcBef>
                <a:spcPct val="0"/>
              </a:spcBef>
              <a:buClr>
                <a:srgbClr val="F19C05"/>
              </a:buClr>
              <a:buSzPct val="85000"/>
              <a:buFont typeface="Wingdings" panose="05000000000000000000" pitchFamily="2" charset="2"/>
              <a:buChar char="n"/>
            </a:pPr>
            <a:r>
              <a:rPr lang="en-GB" altLang="fr-FR" sz="1400">
                <a:solidFill>
                  <a:srgbClr val="00507A"/>
                </a:solidFill>
                <a:latin typeface="Calibri" panose="020F0502020204030204" pitchFamily="34" charset="0"/>
              </a:rPr>
              <a:t>LATELEC</a:t>
            </a:r>
          </a:p>
          <a:p>
            <a:pPr>
              <a:lnSpc>
                <a:spcPct val="120000"/>
              </a:lnSpc>
              <a:spcBef>
                <a:spcPct val="0"/>
              </a:spcBef>
              <a:buClr>
                <a:srgbClr val="F19C05"/>
              </a:buClr>
              <a:buSzPct val="85000"/>
              <a:buFont typeface="Wingdings" panose="05000000000000000000" pitchFamily="2" charset="2"/>
              <a:buChar char="n"/>
            </a:pPr>
            <a:r>
              <a:rPr lang="en-GB" altLang="fr-FR" sz="1400">
                <a:solidFill>
                  <a:srgbClr val="00507A"/>
                </a:solidFill>
                <a:latin typeface="Calibri" panose="020F0502020204030204" pitchFamily="34" charset="0"/>
              </a:rPr>
              <a:t>TTE international</a:t>
            </a:r>
          </a:p>
          <a:p>
            <a:pPr>
              <a:lnSpc>
                <a:spcPct val="130000"/>
              </a:lnSpc>
              <a:spcBef>
                <a:spcPct val="0"/>
              </a:spcBef>
              <a:buClr>
                <a:srgbClr val="CC3399"/>
              </a:buClr>
              <a:buSzPct val="85000"/>
              <a:buFont typeface="Wingdings" panose="05000000000000000000" pitchFamily="2" charset="2"/>
              <a:buNone/>
            </a:pPr>
            <a:endParaRPr lang="en-GB" altLang="fr-FR" sz="1600">
              <a:latin typeface="Calibri" panose="020F0502020204030204" pitchFamily="34" charset="0"/>
            </a:endParaRPr>
          </a:p>
        </p:txBody>
      </p:sp>
      <p:sp>
        <p:nvSpPr>
          <p:cNvPr id="176132" name="Rectangle 2053"/>
          <p:cNvSpPr>
            <a:spLocks noChangeArrowheads="1"/>
          </p:cNvSpPr>
          <p:nvPr/>
        </p:nvSpPr>
        <p:spPr bwMode="auto">
          <a:xfrm>
            <a:off x="6777038" y="5908675"/>
            <a:ext cx="1944687" cy="720725"/>
          </a:xfrm>
          <a:prstGeom prst="rect">
            <a:avLst/>
          </a:prstGeom>
          <a:noFill/>
          <a:ln w="952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nSpc>
                <a:spcPct val="120000"/>
              </a:lnSpc>
              <a:spcBef>
                <a:spcPct val="0"/>
              </a:spcBef>
              <a:buClr>
                <a:srgbClr val="F19C05"/>
              </a:buClr>
              <a:buSzPct val="85000"/>
              <a:buFont typeface="Wingdings" panose="05000000000000000000" pitchFamily="2" charset="2"/>
              <a:buChar char="n"/>
            </a:pPr>
            <a:r>
              <a:rPr lang="en-GB" altLang="fr-FR" sz="1400">
                <a:solidFill>
                  <a:srgbClr val="00507A"/>
                </a:solidFill>
                <a:latin typeface="Calibri" panose="020F0502020204030204" pitchFamily="34" charset="0"/>
              </a:rPr>
              <a:t>AIP</a:t>
            </a:r>
          </a:p>
          <a:p>
            <a:pPr>
              <a:lnSpc>
                <a:spcPct val="120000"/>
              </a:lnSpc>
              <a:spcBef>
                <a:spcPct val="0"/>
              </a:spcBef>
              <a:buClr>
                <a:srgbClr val="F19C05"/>
              </a:buClr>
              <a:buSzPct val="85000"/>
              <a:buFont typeface="Wingdings" panose="05000000000000000000" pitchFamily="2" charset="2"/>
              <a:buChar char="n"/>
            </a:pPr>
            <a:r>
              <a:rPr lang="en-GB" altLang="fr-FR" sz="1400">
                <a:solidFill>
                  <a:srgbClr val="00507A"/>
                </a:solidFill>
                <a:latin typeface="Calibri" panose="020F0502020204030204" pitchFamily="34" charset="0"/>
              </a:rPr>
              <a:t>TTE International</a:t>
            </a:r>
          </a:p>
        </p:txBody>
      </p:sp>
      <p:sp>
        <p:nvSpPr>
          <p:cNvPr id="20484" name="Rectangle 2054"/>
          <p:cNvSpPr>
            <a:spLocks noChangeArrowheads="1"/>
          </p:cNvSpPr>
          <p:nvPr/>
        </p:nvSpPr>
        <p:spPr bwMode="auto">
          <a:xfrm>
            <a:off x="3563938" y="1587500"/>
            <a:ext cx="2605087" cy="338138"/>
          </a:xfrm>
          <a:prstGeom prst="rect">
            <a:avLst/>
          </a:prstGeom>
          <a:solidFill>
            <a:srgbClr val="00507A"/>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a:buClr>
                <a:srgbClr val="FF0000"/>
              </a:buClr>
              <a:defRPr/>
            </a:pPr>
            <a:r>
              <a:rPr lang="en-US" sz="1600" b="1" dirty="0">
                <a:solidFill>
                  <a:schemeClr val="tx2"/>
                </a:solidFill>
                <a:latin typeface="Calibri" pitchFamily="34" charset="0"/>
                <a:cs typeface="Calibri" pitchFamily="34" charset="0"/>
              </a:rPr>
              <a:t>Mechanical</a:t>
            </a:r>
          </a:p>
        </p:txBody>
      </p:sp>
      <p:sp>
        <p:nvSpPr>
          <p:cNvPr id="20485" name="Rectangle 2055"/>
          <p:cNvSpPr>
            <a:spLocks noChangeArrowheads="1"/>
          </p:cNvSpPr>
          <p:nvPr/>
        </p:nvSpPr>
        <p:spPr bwMode="auto">
          <a:xfrm>
            <a:off x="6777038" y="5580063"/>
            <a:ext cx="1944687" cy="450850"/>
          </a:xfrm>
          <a:prstGeom prst="rect">
            <a:avLst/>
          </a:prstGeom>
          <a:solidFill>
            <a:srgbClr val="00507A"/>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a:buClr>
                <a:srgbClr val="FF0000"/>
              </a:buClr>
              <a:defRPr/>
            </a:pPr>
            <a:r>
              <a:rPr lang="fr-FR" sz="1600" b="1" dirty="0">
                <a:solidFill>
                  <a:schemeClr val="tx2"/>
                </a:solidFill>
                <a:latin typeface="Calibri" pitchFamily="34" charset="0"/>
                <a:cs typeface="Calibri" pitchFamily="34" charset="0"/>
              </a:rPr>
              <a:t>Plastic components</a:t>
            </a:r>
          </a:p>
        </p:txBody>
      </p:sp>
      <p:sp>
        <p:nvSpPr>
          <p:cNvPr id="20486" name="Rectangle 2056"/>
          <p:cNvSpPr>
            <a:spLocks noChangeArrowheads="1"/>
          </p:cNvSpPr>
          <p:nvPr/>
        </p:nvSpPr>
        <p:spPr bwMode="auto">
          <a:xfrm>
            <a:off x="6443663" y="1947863"/>
            <a:ext cx="2303462" cy="338137"/>
          </a:xfrm>
          <a:prstGeom prst="rect">
            <a:avLst/>
          </a:prstGeom>
          <a:solidFill>
            <a:srgbClr val="00507A"/>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a:buClr>
                <a:srgbClr val="FF0000"/>
              </a:buClr>
              <a:defRPr/>
            </a:pPr>
            <a:r>
              <a:rPr lang="fr-FR" sz="1600" b="1" dirty="0">
                <a:solidFill>
                  <a:schemeClr val="tx2"/>
                </a:solidFill>
                <a:latin typeface="Calibri" pitchFamily="34" charset="0"/>
                <a:cs typeface="Calibri" pitchFamily="34" charset="0"/>
              </a:rPr>
              <a:t> Electronics</a:t>
            </a:r>
          </a:p>
        </p:txBody>
      </p:sp>
      <p:sp>
        <p:nvSpPr>
          <p:cNvPr id="20487" name="Rectangle 2057"/>
          <p:cNvSpPr>
            <a:spLocks noChangeArrowheads="1"/>
          </p:cNvSpPr>
          <p:nvPr/>
        </p:nvSpPr>
        <p:spPr bwMode="auto">
          <a:xfrm rot="10800000" flipV="1">
            <a:off x="3924300" y="3989388"/>
            <a:ext cx="1728788" cy="528637"/>
          </a:xfrm>
          <a:prstGeom prst="rect">
            <a:avLst/>
          </a:prstGeom>
          <a:solidFill>
            <a:srgbClr val="00507A"/>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a:buClr>
                <a:srgbClr val="FF0000"/>
              </a:buClr>
              <a:defRPr/>
            </a:pPr>
            <a:r>
              <a:rPr lang="de-DE" sz="1600" b="1" dirty="0">
                <a:solidFill>
                  <a:schemeClr val="tx2"/>
                </a:solidFill>
                <a:latin typeface="Calibri" pitchFamily="34" charset="0"/>
                <a:cs typeface="Calibri" pitchFamily="34" charset="0"/>
              </a:rPr>
              <a:t>Cable harnesses</a:t>
            </a:r>
          </a:p>
        </p:txBody>
      </p:sp>
      <p:sp>
        <p:nvSpPr>
          <p:cNvPr id="176137" name="Rectangle 2058"/>
          <p:cNvSpPr>
            <a:spLocks noChangeArrowheads="1"/>
          </p:cNvSpPr>
          <p:nvPr/>
        </p:nvSpPr>
        <p:spPr bwMode="auto">
          <a:xfrm>
            <a:off x="3563938" y="1947863"/>
            <a:ext cx="2592387" cy="2016125"/>
          </a:xfrm>
          <a:prstGeom prst="rect">
            <a:avLst/>
          </a:prstGeom>
          <a:noFill/>
          <a:ln w="952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STELIA</a:t>
            </a:r>
          </a:p>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MECAHERS</a:t>
            </a:r>
          </a:p>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HUTCHINSON</a:t>
            </a:r>
          </a:p>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SOTIP</a:t>
            </a:r>
          </a:p>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DURIAL</a:t>
            </a:r>
          </a:p>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COMMECA</a:t>
            </a:r>
          </a:p>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SEGNERE</a:t>
            </a:r>
          </a:p>
          <a:p>
            <a:pPr>
              <a:lnSpc>
                <a:spcPct val="120000"/>
              </a:lnSpc>
              <a:spcBef>
                <a:spcPct val="0"/>
              </a:spcBef>
              <a:buClr>
                <a:srgbClr val="F19C05"/>
              </a:buClr>
              <a:buSzPct val="85000"/>
              <a:buFont typeface="Wingdings" panose="05000000000000000000" pitchFamily="2" charset="2"/>
              <a:buChar char="n"/>
            </a:pPr>
            <a:r>
              <a:rPr lang="en-US" altLang="fr-FR" sz="1400">
                <a:solidFill>
                  <a:srgbClr val="00507A"/>
                </a:solidFill>
                <a:latin typeface="Calibri" panose="020F0502020204030204" pitchFamily="34" charset="0"/>
              </a:rPr>
              <a:t>EUROCAST</a:t>
            </a:r>
          </a:p>
        </p:txBody>
      </p:sp>
      <p:sp>
        <p:nvSpPr>
          <p:cNvPr id="176138" name="Rectangle 2059"/>
          <p:cNvSpPr>
            <a:spLocks noChangeArrowheads="1"/>
          </p:cNvSpPr>
          <p:nvPr/>
        </p:nvSpPr>
        <p:spPr bwMode="auto">
          <a:xfrm>
            <a:off x="6443663" y="2306638"/>
            <a:ext cx="2303462" cy="1368425"/>
          </a:xfrm>
          <a:prstGeom prst="rect">
            <a:avLst/>
          </a:prstGeom>
          <a:noFill/>
          <a:ln w="952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Aero Stanrew</a:t>
            </a:r>
          </a:p>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Anjou</a:t>
            </a:r>
          </a:p>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COFITEL</a:t>
            </a:r>
          </a:p>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Globe Technologie </a:t>
            </a:r>
          </a:p>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ZODIAC</a:t>
            </a:r>
          </a:p>
        </p:txBody>
      </p:sp>
      <p:sp>
        <p:nvSpPr>
          <p:cNvPr id="176139" name="Rectangle 2052"/>
          <p:cNvSpPr>
            <a:spLocks noChangeArrowheads="1"/>
          </p:cNvSpPr>
          <p:nvPr/>
        </p:nvSpPr>
        <p:spPr bwMode="auto">
          <a:xfrm>
            <a:off x="6443663" y="4179888"/>
            <a:ext cx="2305050" cy="1296987"/>
          </a:xfrm>
          <a:prstGeom prst="rect">
            <a:avLst/>
          </a:prstGeom>
          <a:noFill/>
          <a:ln w="952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SAFRAN</a:t>
            </a:r>
          </a:p>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SOPRA Midi-Pyrénées</a:t>
            </a:r>
          </a:p>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SOGECLAIR</a:t>
            </a:r>
          </a:p>
          <a:p>
            <a:pPr>
              <a:lnSpc>
                <a:spcPct val="120000"/>
              </a:lnSpc>
              <a:spcBef>
                <a:spcPct val="0"/>
              </a:spcBef>
              <a:buClr>
                <a:srgbClr val="F19C05"/>
              </a:buClr>
              <a:buSzPct val="85000"/>
              <a:buFont typeface="Wingdings" panose="05000000000000000000" pitchFamily="2" charset="2"/>
              <a:buChar char="n"/>
            </a:pPr>
            <a:r>
              <a:rPr lang="fr-FR" altLang="fr-FR" sz="1400">
                <a:solidFill>
                  <a:srgbClr val="00507A"/>
                </a:solidFill>
                <a:latin typeface="Calibri" panose="020F0502020204030204" pitchFamily="34" charset="0"/>
              </a:rPr>
              <a:t>ALTRAN</a:t>
            </a:r>
          </a:p>
        </p:txBody>
      </p:sp>
      <p:sp>
        <p:nvSpPr>
          <p:cNvPr id="20493" name="Rectangle 2057"/>
          <p:cNvSpPr>
            <a:spLocks noChangeArrowheads="1"/>
          </p:cNvSpPr>
          <p:nvPr/>
        </p:nvSpPr>
        <p:spPr bwMode="auto">
          <a:xfrm rot="10800000" flipV="1">
            <a:off x="6443663" y="3819525"/>
            <a:ext cx="2305050" cy="338138"/>
          </a:xfrm>
          <a:prstGeom prst="rect">
            <a:avLst/>
          </a:prstGeom>
          <a:solidFill>
            <a:srgbClr val="00507A"/>
          </a:solidFill>
          <a:ln>
            <a:solidFill>
              <a:schemeClr val="tx2"/>
            </a:solidFill>
          </a:ln>
        </p:spPr>
        <p:style>
          <a:lnRef idx="1">
            <a:schemeClr val="accent5"/>
          </a:lnRef>
          <a:fillRef idx="2">
            <a:schemeClr val="accent5"/>
          </a:fillRef>
          <a:effectRef idx="1">
            <a:schemeClr val="accent5"/>
          </a:effectRef>
          <a:fontRef idx="minor">
            <a:schemeClr val="dk1"/>
          </a:fontRef>
        </p:style>
        <p:txBody>
          <a:bodyPr anchor="ctr"/>
          <a:lstStyle/>
          <a:p>
            <a:pPr algn="ctr">
              <a:buClr>
                <a:srgbClr val="FF0000"/>
              </a:buClr>
              <a:defRPr/>
            </a:pPr>
            <a:r>
              <a:rPr lang="fr-FR" sz="1600" b="1" dirty="0">
                <a:solidFill>
                  <a:schemeClr val="tx2"/>
                </a:solidFill>
                <a:latin typeface="Calibri" pitchFamily="34" charset="0"/>
                <a:cs typeface="Calibri" pitchFamily="34" charset="0"/>
              </a:rPr>
              <a:t>Engineering</a:t>
            </a:r>
          </a:p>
        </p:txBody>
      </p:sp>
      <p:sp>
        <p:nvSpPr>
          <p:cNvPr id="176141" name="Espace réservé du numéro de diapositive 14"/>
          <p:cNvSpPr txBox="1">
            <a:spLocks noGrp="1"/>
          </p:cNvSpPr>
          <p:nvPr/>
        </p:nvSpPr>
        <p:spPr bwMode="auto">
          <a:xfrm>
            <a:off x="457200" y="6245225"/>
            <a:ext cx="213360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Clr>
                <a:srgbClr val="FF0000"/>
              </a:buClr>
              <a:buFontTx/>
              <a:buNone/>
            </a:pPr>
            <a:endParaRPr lang="fr-FR" altLang="fr-FR" sz="1400">
              <a:latin typeface="Arial" panose="020B0604020202020204" pitchFamily="34" charset="0"/>
            </a:endParaRPr>
          </a:p>
        </p:txBody>
      </p:sp>
      <p:pic>
        <p:nvPicPr>
          <p:cNvPr id="176142" name="Image 22" descr="Safran_.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167706">
            <a:off x="1947863" y="3022600"/>
            <a:ext cx="1452562"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3" name="Picture 2" descr="D:\Communication\Communication 2010\film FIPA\logo\zodiac aerospace.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266250">
            <a:off x="336550" y="3881438"/>
            <a:ext cx="140811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4" name="Picture 16" descr="altran_logo_img_f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t="29762" b="28166"/>
          <a:stretch>
            <a:fillRect/>
          </a:stretch>
        </p:blipFill>
        <p:spPr bwMode="auto">
          <a:xfrm rot="-1186672">
            <a:off x="334963" y="5435600"/>
            <a:ext cx="949325"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5" name="Picture 4" descr="http://storage.canalblog.com/23/76/447324/44956906.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896295">
            <a:off x="2270125" y="5180013"/>
            <a:ext cx="11906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3716338" y="1173163"/>
            <a:ext cx="4446587" cy="306387"/>
          </a:xfrm>
          <a:prstGeom prst="rect">
            <a:avLst/>
          </a:prstGeom>
          <a:solidFill>
            <a:srgbClr val="00206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94345" tIns="62897" rIns="31447" bIns="62897" anchor="ctr"/>
          <a:lstStyle/>
          <a:p>
            <a:pPr algn="ctr" defTabSz="909638">
              <a:defRPr/>
            </a:pPr>
            <a:r>
              <a:rPr lang="fr-FR" sz="1600" b="1" dirty="0">
                <a:solidFill>
                  <a:schemeClr val="tx2"/>
                </a:solidFill>
                <a:cs typeface="Arial" pitchFamily="34" charset="0"/>
              </a:rPr>
              <a:t> A PERFORMING AEROSPACE SUPPLY CHAIN</a:t>
            </a:r>
          </a:p>
        </p:txBody>
      </p:sp>
      <p:pic>
        <p:nvPicPr>
          <p:cNvPr id="176147" name="Picture 3" descr="C:\Users\Ramzi GARA\Desktop\stelia.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051711">
            <a:off x="128588" y="3489325"/>
            <a:ext cx="121285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72" name="Text Box 5"/>
          <p:cNvSpPr txBox="1">
            <a:spLocks noChangeArrowheads="1"/>
          </p:cNvSpPr>
          <p:nvPr/>
        </p:nvSpPr>
        <p:spPr bwMode="auto">
          <a:xfrm>
            <a:off x="163513" y="203200"/>
            <a:ext cx="7129462"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defTabSz="801688">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defTabSz="801688">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defTabSz="801688">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spcBef>
                <a:spcPct val="0"/>
              </a:spcBef>
              <a:buFontTx/>
              <a:buNone/>
              <a:defRPr/>
            </a:pP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Aerospace Industries</a:t>
            </a:r>
          </a:p>
        </p:txBody>
      </p:sp>
      <p:pic>
        <p:nvPicPr>
          <p:cNvPr id="176149" name="Picture 2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220134">
            <a:off x="2792413" y="5708650"/>
            <a:ext cx="815975"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50" name="Picture 14" descr="LATECOERE">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rot="-1220134">
            <a:off x="2801938" y="4529138"/>
            <a:ext cx="96996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51"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rot="-1220134">
            <a:off x="1484313" y="5935663"/>
            <a:ext cx="947737"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ZoneTexte 32"/>
          <p:cNvSpPr txBox="1"/>
          <p:nvPr/>
        </p:nvSpPr>
        <p:spPr>
          <a:xfrm rot="21095228">
            <a:off x="152400" y="935038"/>
            <a:ext cx="3505200" cy="1087437"/>
          </a:xfrm>
          <a:prstGeom prst="rect">
            <a:avLst/>
          </a:prstGeom>
          <a:solidFill>
            <a:schemeClr val="bg2">
              <a:lumMod val="75000"/>
            </a:schemeClr>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buClr>
                <a:srgbClr val="99CCFF"/>
              </a:buClr>
              <a:buSzPct val="105000"/>
              <a:defRPr/>
            </a:pPr>
            <a:endParaRPr lang="en-US" sz="1400" b="1" dirty="0">
              <a:solidFill>
                <a:srgbClr val="FFFFFF"/>
              </a:solidFill>
            </a:endParaRPr>
          </a:p>
          <a:p>
            <a:pPr indent="-95250" algn="ctr">
              <a:buClr>
                <a:srgbClr val="99CCFF"/>
              </a:buClr>
              <a:buSzPct val="105000"/>
              <a:defRPr/>
            </a:pPr>
            <a:r>
              <a:rPr lang="en-US" sz="1400" b="1" dirty="0">
                <a:solidFill>
                  <a:srgbClr val="FFFFFF"/>
                </a:solidFill>
              </a:rPr>
              <a:t>More than </a:t>
            </a:r>
            <a:r>
              <a:rPr lang="en-US" sz="2800" b="1" dirty="0">
                <a:solidFill>
                  <a:schemeClr val="bg1">
                    <a:lumMod val="60000"/>
                    <a:lumOff val="40000"/>
                  </a:schemeClr>
                </a:solidFill>
              </a:rPr>
              <a:t>80</a:t>
            </a:r>
            <a:r>
              <a:rPr lang="en-US" sz="1400" b="1" dirty="0">
                <a:solidFill>
                  <a:srgbClr val="FFFFFF"/>
                </a:solidFill>
              </a:rPr>
              <a:t> companies </a:t>
            </a:r>
          </a:p>
          <a:p>
            <a:pPr indent="-95250" algn="ctr">
              <a:buClr>
                <a:srgbClr val="99CCFF"/>
              </a:buClr>
              <a:buSzPct val="105000"/>
              <a:defRPr/>
            </a:pPr>
            <a:r>
              <a:rPr lang="en-US" sz="2800" b="1" dirty="0">
                <a:solidFill>
                  <a:schemeClr val="bg1">
                    <a:lumMod val="60000"/>
                    <a:lumOff val="40000"/>
                  </a:schemeClr>
                </a:solidFill>
              </a:rPr>
              <a:t>13 500 </a:t>
            </a:r>
            <a:r>
              <a:rPr lang="fr-FR" sz="1400" b="1" dirty="0">
                <a:solidFill>
                  <a:srgbClr val="FFFFFF"/>
                </a:solidFill>
              </a:rPr>
              <a:t>Jobs</a:t>
            </a:r>
          </a:p>
          <a:p>
            <a:pPr indent="-95250" algn="ctr">
              <a:buClr>
                <a:srgbClr val="99CCFF"/>
              </a:buClr>
              <a:buSzPct val="105000"/>
              <a:defRPr/>
            </a:pPr>
            <a:r>
              <a:rPr lang="fr-FR" altLang="zh-CN" sz="1400" b="1" dirty="0">
                <a:solidFill>
                  <a:srgbClr val="FFFFFF"/>
                </a:solidFill>
              </a:rPr>
              <a:t> </a:t>
            </a:r>
          </a:p>
        </p:txBody>
      </p:sp>
      <p:pic>
        <p:nvPicPr>
          <p:cNvPr id="176153" name="Picture 2" descr="Afficher l'image d'origin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rot="-1179719">
            <a:off x="644525" y="2139950"/>
            <a:ext cx="2016125"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154" name="Rectangle 25"/>
          <p:cNvSpPr>
            <a:spLocks noChangeArrowheads="1"/>
          </p:cNvSpPr>
          <p:nvPr/>
        </p:nvSpPr>
        <p:spPr bwMode="auto">
          <a:xfrm>
            <a:off x="4127500" y="6245225"/>
            <a:ext cx="9715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r>
              <a:rPr lang="fr-FR" altLang="fr-FR" sz="1000" b="1">
                <a:solidFill>
                  <a:srgbClr val="C00000"/>
                </a:solidFill>
                <a:latin typeface="Arial" panose="020B0604020202020204" pitchFamily="34" charset="0"/>
              </a:rPr>
              <a:t>Jobs created</a:t>
            </a:r>
          </a:p>
        </p:txBody>
      </p:sp>
      <p:sp>
        <p:nvSpPr>
          <p:cNvPr id="27" name="Rectangle 26"/>
          <p:cNvSpPr/>
          <p:nvPr/>
        </p:nvSpPr>
        <p:spPr>
          <a:xfrm>
            <a:off x="2897188" y="6302375"/>
            <a:ext cx="538162" cy="260350"/>
          </a:xfrm>
          <a:prstGeom prst="rect">
            <a:avLst/>
          </a:prstGeom>
        </p:spPr>
        <p:txBody>
          <a:bodyPr wrap="none">
            <a:spAutoFit/>
          </a:bodyPr>
          <a:lstStyle/>
          <a:p>
            <a:pPr algn="ctr">
              <a:defRPr sz="1800" b="0" i="0" u="none" strike="noStrike" kern="1200" baseline="0">
                <a:solidFill>
                  <a:srgbClr val="0077A9"/>
                </a:solidFill>
                <a:latin typeface="+mn-lt"/>
                <a:ea typeface="+mn-ea"/>
                <a:cs typeface="+mn-cs"/>
              </a:defRPr>
            </a:pPr>
            <a:r>
              <a:rPr lang="en-US" sz="1050" b="1" dirty="0">
                <a:solidFill>
                  <a:srgbClr val="C00000"/>
                </a:solidFill>
                <a:latin typeface="+mn-lt"/>
                <a:cs typeface="+mn-cs"/>
              </a:rPr>
              <a:t>1 310</a:t>
            </a:r>
          </a:p>
        </p:txBody>
      </p:sp>
      <p:sp>
        <p:nvSpPr>
          <p:cNvPr id="28" name="Rectangle 27"/>
          <p:cNvSpPr/>
          <p:nvPr/>
        </p:nvSpPr>
        <p:spPr>
          <a:xfrm>
            <a:off x="5765800" y="6310313"/>
            <a:ext cx="600075" cy="252412"/>
          </a:xfrm>
          <a:prstGeom prst="rect">
            <a:avLst/>
          </a:prstGeom>
        </p:spPr>
        <p:txBody>
          <a:bodyPr wrap="none">
            <a:spAutoFit/>
          </a:bodyPr>
          <a:lstStyle/>
          <a:p>
            <a:pPr algn="ctr">
              <a:defRPr sz="1800" b="0" i="0" u="none" strike="noStrike" kern="1200" baseline="0">
                <a:solidFill>
                  <a:srgbClr val="0077A9"/>
                </a:solidFill>
                <a:latin typeface="+mn-lt"/>
                <a:ea typeface="+mn-ea"/>
                <a:cs typeface="+mn-cs"/>
              </a:defRPr>
            </a:pPr>
            <a:r>
              <a:rPr lang="en-US" sz="1050" b="1" dirty="0">
                <a:solidFill>
                  <a:srgbClr val="C00000"/>
                </a:solidFill>
                <a:latin typeface="+mn-lt"/>
                <a:cs typeface="+mn-cs"/>
              </a:rPr>
              <a:t>13 500</a:t>
            </a:r>
          </a:p>
        </p:txBody>
      </p:sp>
      <p:cxnSp>
        <p:nvCxnSpPr>
          <p:cNvPr id="29" name="Connecteur droit avec flèche 28"/>
          <p:cNvCxnSpPr/>
          <p:nvPr/>
        </p:nvCxnSpPr>
        <p:spPr>
          <a:xfrm>
            <a:off x="3317875" y="6448425"/>
            <a:ext cx="2332038" cy="31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6158" name="Rectangle 51"/>
          <p:cNvSpPr>
            <a:spLocks noChangeArrowheads="1"/>
          </p:cNvSpPr>
          <p:nvPr/>
        </p:nvSpPr>
        <p:spPr bwMode="auto">
          <a:xfrm>
            <a:off x="3068638" y="6562725"/>
            <a:ext cx="282575"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r>
              <a:rPr lang="en-US" altLang="fr-FR" sz="1000">
                <a:solidFill>
                  <a:srgbClr val="C00000"/>
                </a:solidFill>
              </a:rPr>
              <a:t>2004</a:t>
            </a:r>
            <a:endParaRPr lang="en-US" altLang="fr-FR" sz="700">
              <a:solidFill>
                <a:srgbClr val="C00000"/>
              </a:solidFill>
            </a:endParaRPr>
          </a:p>
        </p:txBody>
      </p:sp>
      <p:sp>
        <p:nvSpPr>
          <p:cNvPr id="176159" name="Rectangle 51"/>
          <p:cNvSpPr>
            <a:spLocks noChangeArrowheads="1"/>
          </p:cNvSpPr>
          <p:nvPr/>
        </p:nvSpPr>
        <p:spPr bwMode="auto">
          <a:xfrm>
            <a:off x="5924550" y="6584950"/>
            <a:ext cx="2825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r>
              <a:rPr lang="en-US" altLang="fr-FR" sz="1000">
                <a:solidFill>
                  <a:srgbClr val="C00000"/>
                </a:solidFill>
              </a:rPr>
              <a:t>2016</a:t>
            </a:r>
            <a:endParaRPr lang="en-US" altLang="fr-FR" sz="700">
              <a:solidFill>
                <a:srgbClr val="C00000"/>
              </a:solidFill>
            </a:endParaRPr>
          </a:p>
        </p:txBody>
      </p:sp>
    </p:spTree>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052"/>
          <p:cNvSpPr>
            <a:spLocks noChangeArrowheads="1"/>
          </p:cNvSpPr>
          <p:nvPr/>
        </p:nvSpPr>
        <p:spPr bwMode="auto">
          <a:xfrm>
            <a:off x="1233488" y="1728788"/>
            <a:ext cx="2952750" cy="1944687"/>
          </a:xfrm>
          <a:prstGeom prst="rect">
            <a:avLst/>
          </a:prstGeom>
          <a:noFill/>
          <a:ln w="9525">
            <a:solidFill>
              <a:srgbClr val="CC33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DRAXLMAIER</a:t>
            </a:r>
          </a:p>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LEONI</a:t>
            </a:r>
          </a:p>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YAZAKI</a:t>
            </a:r>
          </a:p>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LEAR AUTOMOTIVE</a:t>
            </a:r>
          </a:p>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KROMBERG &amp; SCHUBERT</a:t>
            </a:r>
          </a:p>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YURA CORPORATION </a:t>
            </a:r>
          </a:p>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SUMITOMO</a:t>
            </a:r>
          </a:p>
          <a:p>
            <a:pPr eaLnBrk="1" hangingPunct="1">
              <a:lnSpc>
                <a:spcPct val="130000"/>
              </a:lnSpc>
              <a:spcBef>
                <a:spcPct val="0"/>
              </a:spcBef>
              <a:buClr>
                <a:srgbClr val="CC3399"/>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COROPLAST</a:t>
            </a:r>
          </a:p>
        </p:txBody>
      </p:sp>
      <p:sp>
        <p:nvSpPr>
          <p:cNvPr id="178179" name="Rectangle 2053"/>
          <p:cNvSpPr>
            <a:spLocks noChangeArrowheads="1"/>
          </p:cNvSpPr>
          <p:nvPr/>
        </p:nvSpPr>
        <p:spPr bwMode="auto">
          <a:xfrm>
            <a:off x="1576388" y="5351463"/>
            <a:ext cx="2298700" cy="1243012"/>
          </a:xfrm>
          <a:prstGeom prst="rect">
            <a:avLst/>
          </a:prstGeom>
          <a:noFill/>
          <a:ln w="9525">
            <a:solidFill>
              <a:srgbClr val="339933"/>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lnSpc>
                <a:spcPct val="120000"/>
              </a:lnSpc>
              <a:spcBef>
                <a:spcPct val="0"/>
              </a:spcBef>
              <a:buClr>
                <a:srgbClr val="339933"/>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PLASTIVALOIRE</a:t>
            </a:r>
          </a:p>
          <a:p>
            <a:pPr eaLnBrk="1" hangingPunct="1">
              <a:lnSpc>
                <a:spcPct val="120000"/>
              </a:lnSpc>
              <a:spcBef>
                <a:spcPct val="0"/>
              </a:spcBef>
              <a:buClr>
                <a:srgbClr val="339933"/>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IMTEC</a:t>
            </a:r>
          </a:p>
          <a:p>
            <a:pPr eaLnBrk="1" hangingPunct="1">
              <a:lnSpc>
                <a:spcPct val="120000"/>
              </a:lnSpc>
              <a:spcBef>
                <a:spcPct val="0"/>
              </a:spcBef>
              <a:buClr>
                <a:srgbClr val="339933"/>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NIEF PLASTIQUE</a:t>
            </a:r>
          </a:p>
          <a:p>
            <a:pPr eaLnBrk="1" hangingPunct="1">
              <a:lnSpc>
                <a:spcPct val="120000"/>
              </a:lnSpc>
              <a:spcBef>
                <a:spcPct val="0"/>
              </a:spcBef>
              <a:buClr>
                <a:srgbClr val="339933"/>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MGI COUTIER</a:t>
            </a:r>
          </a:p>
        </p:txBody>
      </p:sp>
      <p:sp>
        <p:nvSpPr>
          <p:cNvPr id="178180" name="Rectangle 2054"/>
          <p:cNvSpPr>
            <a:spLocks noChangeArrowheads="1"/>
          </p:cNvSpPr>
          <p:nvPr/>
        </p:nvSpPr>
        <p:spPr bwMode="auto">
          <a:xfrm>
            <a:off x="6081713" y="4824413"/>
            <a:ext cx="2806700" cy="338137"/>
          </a:xfrm>
          <a:prstGeom prst="rect">
            <a:avLst/>
          </a:prstGeom>
          <a:solidFill>
            <a:srgbClr val="FF6600"/>
          </a:solidFill>
          <a:ln w="25400">
            <a:solidFill>
              <a:srgbClr val="FF6600"/>
            </a:solidFill>
            <a:miter lim="800000"/>
            <a:headEnd/>
            <a:tailEnd/>
          </a:ln>
        </p:spPr>
        <p:txBody>
          <a:bodyPr anchorCtr="1"/>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en-US" altLang="en-US" sz="1600" b="1">
                <a:solidFill>
                  <a:schemeClr val="tx2"/>
                </a:solidFill>
                <a:latin typeface="Arial" panose="020B0604020202020204" pitchFamily="34" charset="0"/>
              </a:rPr>
              <a:t>Others</a:t>
            </a:r>
          </a:p>
        </p:txBody>
      </p:sp>
      <p:sp>
        <p:nvSpPr>
          <p:cNvPr id="178181" name="Rectangle 2055"/>
          <p:cNvSpPr>
            <a:spLocks noChangeArrowheads="1"/>
          </p:cNvSpPr>
          <p:nvPr/>
        </p:nvSpPr>
        <p:spPr bwMode="auto">
          <a:xfrm>
            <a:off x="1576388" y="4973638"/>
            <a:ext cx="2305050" cy="377825"/>
          </a:xfrm>
          <a:prstGeom prst="rect">
            <a:avLst/>
          </a:prstGeom>
          <a:solidFill>
            <a:srgbClr val="339933"/>
          </a:solidFill>
          <a:ln w="25400">
            <a:solidFill>
              <a:srgbClr val="339933"/>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de-DE" altLang="en-US" sz="1600" b="1">
                <a:solidFill>
                  <a:schemeClr val="tx2"/>
                </a:solidFill>
                <a:latin typeface="Arial" panose="020B0604020202020204" pitchFamily="34" charset="0"/>
              </a:rPr>
              <a:t> </a:t>
            </a:r>
            <a:r>
              <a:rPr lang="en-GB" altLang="en-US" sz="1600" b="1">
                <a:solidFill>
                  <a:schemeClr val="tx2"/>
                </a:solidFill>
                <a:latin typeface="Arial" panose="020B0604020202020204" pitchFamily="34" charset="0"/>
              </a:rPr>
              <a:t>Plastic Components</a:t>
            </a:r>
            <a:endParaRPr lang="de-DE" altLang="en-US" sz="1600" b="1">
              <a:solidFill>
                <a:schemeClr val="tx2"/>
              </a:solidFill>
              <a:latin typeface="Arial" panose="020B0604020202020204" pitchFamily="34" charset="0"/>
            </a:endParaRPr>
          </a:p>
        </p:txBody>
      </p:sp>
      <p:sp>
        <p:nvSpPr>
          <p:cNvPr id="178182" name="Rectangle 2057"/>
          <p:cNvSpPr>
            <a:spLocks noChangeArrowheads="1"/>
          </p:cNvSpPr>
          <p:nvPr/>
        </p:nvSpPr>
        <p:spPr bwMode="auto">
          <a:xfrm flipV="1">
            <a:off x="1235075" y="1293813"/>
            <a:ext cx="2951163" cy="434975"/>
          </a:xfrm>
          <a:prstGeom prst="rect">
            <a:avLst/>
          </a:prstGeom>
          <a:solidFill>
            <a:srgbClr val="CC3399"/>
          </a:solidFill>
          <a:ln w="9525">
            <a:solidFill>
              <a:srgbClr val="CC3399"/>
            </a:solidFill>
            <a:miter lim="800000"/>
            <a:headEnd/>
            <a:tailEnd/>
          </a:ln>
        </p:spPr>
        <p:txBody>
          <a:bodyPr rot="10800000" anchor="ct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en-GB" altLang="en-US" sz="1600" b="1">
                <a:solidFill>
                  <a:schemeClr val="tx2"/>
                </a:solidFill>
                <a:latin typeface="Arial" panose="020B0604020202020204" pitchFamily="34" charset="0"/>
              </a:rPr>
              <a:t>Wire Harnesses</a:t>
            </a:r>
            <a:endParaRPr lang="de-DE" altLang="en-US" sz="1600" b="1">
              <a:solidFill>
                <a:schemeClr val="tx2"/>
              </a:solidFill>
              <a:latin typeface="Arial" panose="020B0604020202020204" pitchFamily="34" charset="0"/>
            </a:endParaRPr>
          </a:p>
        </p:txBody>
      </p:sp>
      <p:sp>
        <p:nvSpPr>
          <p:cNvPr id="178183" name="Rectangle 2058"/>
          <p:cNvSpPr>
            <a:spLocks noChangeArrowheads="1"/>
          </p:cNvSpPr>
          <p:nvPr/>
        </p:nvSpPr>
        <p:spPr bwMode="auto">
          <a:xfrm>
            <a:off x="6080125" y="4803775"/>
            <a:ext cx="2808288" cy="1970088"/>
          </a:xfrm>
          <a:prstGeom prst="rect">
            <a:avLst/>
          </a:prstGeom>
          <a:noFill/>
          <a:ln w="9525">
            <a:solidFill>
              <a:srgbClr val="FF66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lnSpc>
                <a:spcPct val="120000"/>
              </a:lnSpc>
              <a:spcBef>
                <a:spcPct val="0"/>
              </a:spcBef>
              <a:buClr>
                <a:srgbClr val="FF6600"/>
              </a:buClr>
              <a:buSzPct val="85000"/>
              <a:buFont typeface="Wingdings" panose="05000000000000000000" pitchFamily="2" charset="2"/>
              <a:buChar char="n"/>
            </a:pPr>
            <a:r>
              <a:rPr lang="en-US" altLang="en-US" sz="1200" b="1">
                <a:solidFill>
                  <a:srgbClr val="002060"/>
                </a:solidFill>
                <a:latin typeface="Calibri" panose="020F0502020204030204" pitchFamily="34" charset="0"/>
              </a:rPr>
              <a:t>AUTOLIV: Seat Belts</a:t>
            </a:r>
          </a:p>
          <a:p>
            <a:pPr eaLnBrk="1" hangingPunct="1">
              <a:lnSpc>
                <a:spcPct val="120000"/>
              </a:lnSpc>
              <a:spcBef>
                <a:spcPct val="0"/>
              </a:spcBef>
              <a:buClr>
                <a:srgbClr val="FF6600"/>
              </a:buClr>
              <a:buSzPct val="85000"/>
              <a:buFont typeface="Wingdings" panose="05000000000000000000" pitchFamily="2" charset="2"/>
              <a:buChar char="n"/>
            </a:pPr>
            <a:r>
              <a:rPr lang="en-US" altLang="en-US" sz="1200" b="1">
                <a:solidFill>
                  <a:srgbClr val="002060"/>
                </a:solidFill>
                <a:latin typeface="Calibri" panose="020F0502020204030204" pitchFamily="34" charset="0"/>
              </a:rPr>
              <a:t>ZODIAC: Airbags</a:t>
            </a:r>
          </a:p>
          <a:p>
            <a:pPr eaLnBrk="1" hangingPunct="1">
              <a:lnSpc>
                <a:spcPct val="120000"/>
              </a:lnSpc>
              <a:spcBef>
                <a:spcPct val="0"/>
              </a:spcBef>
              <a:buClr>
                <a:srgbClr val="FF6600"/>
              </a:buClr>
              <a:buSzPct val="85000"/>
              <a:buFont typeface="Wingdings" panose="05000000000000000000" pitchFamily="2" charset="2"/>
              <a:buChar char="n"/>
            </a:pPr>
            <a:r>
              <a:rPr lang="en-US" altLang="en-US" sz="1200" b="1">
                <a:solidFill>
                  <a:srgbClr val="002060"/>
                </a:solidFill>
                <a:latin typeface="Calibri" panose="020F0502020204030204" pitchFamily="34" charset="0"/>
              </a:rPr>
              <a:t>FAURECIA: Seat Covers</a:t>
            </a:r>
          </a:p>
          <a:p>
            <a:pPr eaLnBrk="1" hangingPunct="1">
              <a:lnSpc>
                <a:spcPct val="120000"/>
              </a:lnSpc>
              <a:spcBef>
                <a:spcPct val="0"/>
              </a:spcBef>
              <a:buClr>
                <a:srgbClr val="FF6600"/>
              </a:buClr>
              <a:buSzPct val="85000"/>
              <a:buFont typeface="Wingdings" panose="05000000000000000000" pitchFamily="2" charset="2"/>
              <a:buChar char="n"/>
            </a:pPr>
            <a:r>
              <a:rPr lang="en-US" altLang="en-US" sz="1200" b="1">
                <a:solidFill>
                  <a:srgbClr val="002060"/>
                </a:solidFill>
                <a:latin typeface="Calibri" panose="020F0502020204030204" pitchFamily="34" charset="0"/>
              </a:rPr>
              <a:t>VALEO: Clutch Systems</a:t>
            </a:r>
          </a:p>
          <a:p>
            <a:pPr eaLnBrk="1" hangingPunct="1">
              <a:lnSpc>
                <a:spcPct val="120000"/>
              </a:lnSpc>
              <a:spcBef>
                <a:spcPct val="0"/>
              </a:spcBef>
              <a:buClr>
                <a:srgbClr val="FF6600"/>
              </a:buClr>
              <a:buSzPct val="85000"/>
              <a:buFont typeface="Wingdings" panose="05000000000000000000" pitchFamily="2" charset="2"/>
              <a:buChar char="n"/>
            </a:pPr>
            <a:r>
              <a:rPr lang="en-US" altLang="en-US" sz="1200" b="1">
                <a:solidFill>
                  <a:srgbClr val="002060"/>
                </a:solidFill>
                <a:latin typeface="Calibri" panose="020F0502020204030204" pitchFamily="34" charset="0"/>
              </a:rPr>
              <a:t>BOSCH: Microphones &amp; Loudspeakers</a:t>
            </a:r>
          </a:p>
        </p:txBody>
      </p:sp>
      <p:pic>
        <p:nvPicPr>
          <p:cNvPr id="17818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238" y="3908425"/>
            <a:ext cx="642937" cy="269875"/>
          </a:xfrm>
          <a:prstGeom prst="rect">
            <a:avLst/>
          </a:prstGeom>
          <a:noFill/>
          <a:ln w="9525" algn="ctr">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pic>
        <p:nvPicPr>
          <p:cNvPr id="178185" name="Picture 22" descr="leoni-logo">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4013" y="2413000"/>
            <a:ext cx="642937"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86"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7188" y="2074863"/>
            <a:ext cx="642937" cy="195262"/>
          </a:xfrm>
          <a:prstGeom prst="rect">
            <a:avLst/>
          </a:prstGeom>
          <a:noFill/>
          <a:ln w="12700" algn="ctr">
            <a:solidFill>
              <a:schemeClr val="hlink"/>
            </a:solidFill>
            <a:miter lim="800000"/>
            <a:headEnd/>
            <a:tailEnd/>
          </a:ln>
          <a:extLst>
            <a:ext uri="{909E8E84-426E-40DD-AFC4-6F175D3DCCD1}">
              <a14:hiddenFill xmlns:a14="http://schemas.microsoft.com/office/drawing/2010/main">
                <a:solidFill>
                  <a:srgbClr val="FFFFFF"/>
                </a:solidFill>
              </a14:hiddenFill>
            </a:ext>
          </a:extLst>
        </p:spPr>
      </p:pic>
      <p:pic>
        <p:nvPicPr>
          <p:cNvPr id="178187"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8625" y="1663700"/>
            <a:ext cx="500063" cy="255588"/>
          </a:xfrm>
          <a:prstGeom prst="rect">
            <a:avLst/>
          </a:prstGeom>
          <a:noFill/>
          <a:ln w="9525" algn="ctr">
            <a:solidFill>
              <a:schemeClr val="bg2"/>
            </a:solidFill>
            <a:miter lim="800000"/>
            <a:headEnd/>
            <a:tailEnd/>
          </a:ln>
          <a:extLst>
            <a:ext uri="{909E8E84-426E-40DD-AFC4-6F175D3DCCD1}">
              <a14:hiddenFill xmlns:a14="http://schemas.microsoft.com/office/drawing/2010/main">
                <a:solidFill>
                  <a:srgbClr val="FFFFFF"/>
                </a:solidFill>
              </a14:hiddenFill>
            </a:ext>
          </a:extLst>
        </p:spPr>
      </p:pic>
      <p:pic>
        <p:nvPicPr>
          <p:cNvPr id="178188" name="Image 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0038" y="4281488"/>
            <a:ext cx="1108075"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89"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013" y="4735513"/>
            <a:ext cx="8239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9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9725" y="2794000"/>
            <a:ext cx="7143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91" name="Picture 2" descr="logogifsmall"/>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1800" y="3579813"/>
            <a:ext cx="53022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92"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7813" y="3155950"/>
            <a:ext cx="838200"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93"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4013" y="5022850"/>
            <a:ext cx="7143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94" name="Picture 2" descr="http://www.cascoproducts.com/@ssets/images/logo.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9725" y="5543550"/>
            <a:ext cx="1081088"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95" name="Picture 6" descr="矢崎総業株式会社"/>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1150" y="6007100"/>
            <a:ext cx="9239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96" name="Picture 8" descr="Sumitomo Wiring Systems LTD.,"/>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71463" y="6267450"/>
            <a:ext cx="1295400"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p:nvSpPr>
        <p:spPr>
          <a:xfrm rot="586887">
            <a:off x="5680075" y="790575"/>
            <a:ext cx="2900363" cy="869950"/>
          </a:xfrm>
          <a:prstGeom prst="rect">
            <a:avLst/>
          </a:prstGeom>
          <a:solidFill>
            <a:srgbClr val="00206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94345" tIns="62897" rIns="31447" bIns="62897" anchor="ctr"/>
          <a:lstStyle/>
          <a:p>
            <a:pPr algn="ctr" defTabSz="909638" eaLnBrk="1" hangingPunct="1">
              <a:defRPr/>
            </a:pPr>
            <a:endParaRPr lang="fr-FR" altLang="zh-CN" sz="1600" b="1" dirty="0">
              <a:solidFill>
                <a:schemeClr val="tx2"/>
              </a:solidFill>
              <a:cs typeface="Arial" pitchFamily="34" charset="0"/>
            </a:endParaRPr>
          </a:p>
          <a:p>
            <a:pPr algn="ctr" defTabSz="909638" eaLnBrk="1" hangingPunct="1">
              <a:defRPr/>
            </a:pPr>
            <a:endParaRPr lang="fr-FR" altLang="zh-CN" sz="1600" b="1" dirty="0">
              <a:solidFill>
                <a:schemeClr val="tx2"/>
              </a:solidFill>
              <a:cs typeface="Arial" pitchFamily="34" charset="0"/>
            </a:endParaRPr>
          </a:p>
          <a:p>
            <a:pPr algn="ctr" defTabSz="909638" eaLnBrk="1" hangingPunct="1">
              <a:defRPr/>
            </a:pPr>
            <a:r>
              <a:rPr lang="fr-FR" altLang="zh-CN" sz="2800" b="1" dirty="0">
                <a:solidFill>
                  <a:srgbClr val="FF33CC"/>
                </a:solidFill>
                <a:cs typeface="Arial" pitchFamily="34" charset="0"/>
              </a:rPr>
              <a:t> </a:t>
            </a:r>
            <a:r>
              <a:rPr lang="en-US" sz="2800" b="1" dirty="0">
                <a:solidFill>
                  <a:srgbClr val="FF33CC"/>
                </a:solidFill>
              </a:rPr>
              <a:t>2</a:t>
            </a:r>
            <a:r>
              <a:rPr lang="en-US" sz="2800" b="1" baseline="30000" dirty="0">
                <a:solidFill>
                  <a:srgbClr val="FF33CC"/>
                </a:solidFill>
              </a:rPr>
              <a:t>nd</a:t>
            </a:r>
            <a:r>
              <a:rPr lang="en-US" sz="1600" b="1" dirty="0">
                <a:solidFill>
                  <a:schemeClr val="tx2"/>
                </a:solidFill>
              </a:rPr>
              <a:t> African producer of car components</a:t>
            </a:r>
            <a:endParaRPr lang="fr-FR" altLang="zh-CN" sz="1600" b="1" dirty="0">
              <a:solidFill>
                <a:schemeClr val="tx2"/>
              </a:solidFill>
              <a:cs typeface="Arial" pitchFamily="34" charset="0"/>
            </a:endParaRPr>
          </a:p>
          <a:p>
            <a:pPr algn="ctr" defTabSz="909638" eaLnBrk="1" hangingPunct="1">
              <a:defRPr/>
            </a:pPr>
            <a:endParaRPr lang="fr-FR" altLang="zh-CN" sz="1600" b="1" dirty="0">
              <a:solidFill>
                <a:schemeClr val="tx2"/>
              </a:solidFill>
              <a:cs typeface="Arial" pitchFamily="34" charset="0"/>
            </a:endParaRPr>
          </a:p>
          <a:p>
            <a:pPr algn="ctr" defTabSz="909638" eaLnBrk="1" hangingPunct="1">
              <a:defRPr/>
            </a:pPr>
            <a:endParaRPr lang="fr-FR" altLang="zh-CN" sz="1600" b="1" dirty="0">
              <a:solidFill>
                <a:schemeClr val="tx2"/>
              </a:solidFill>
              <a:cs typeface="Arial" pitchFamily="34" charset="0"/>
            </a:endParaRPr>
          </a:p>
        </p:txBody>
      </p:sp>
      <p:sp>
        <p:nvSpPr>
          <p:cNvPr id="102427" name="Text Box 5"/>
          <p:cNvSpPr txBox="1">
            <a:spLocks noChangeArrowheads="1"/>
          </p:cNvSpPr>
          <p:nvPr/>
        </p:nvSpPr>
        <p:spPr bwMode="auto">
          <a:xfrm>
            <a:off x="179388" y="223838"/>
            <a:ext cx="7129462"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defTabSz="801688">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defTabSz="801688">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defTabSz="801688">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spcBef>
                <a:spcPct val="0"/>
              </a:spcBef>
              <a:buFontTx/>
              <a:buNone/>
              <a:defRPr/>
            </a:pP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Automotive Components</a:t>
            </a:r>
          </a:p>
        </p:txBody>
      </p:sp>
      <p:pic>
        <p:nvPicPr>
          <p:cNvPr id="178199" name="Picture 12" descr="Résultat de recherche d'images pour &quot;automotive components&quot;"/>
          <p:cNvPicPr>
            <a:picLocks noChangeAspect="1" noChangeArrowheads="1"/>
          </p:cNvPicPr>
          <p:nvPr/>
        </p:nvPicPr>
        <p:blipFill>
          <a:blip r:embed="rId17">
            <a:extLst>
              <a:ext uri="{28A0092B-C50C-407E-A947-70E740481C1C}">
                <a14:useLocalDpi xmlns:a14="http://schemas.microsoft.com/office/drawing/2010/main" val="0"/>
              </a:ext>
            </a:extLst>
          </a:blip>
          <a:srcRect t="3986" b="5888"/>
          <a:stretch>
            <a:fillRect/>
          </a:stretch>
        </p:blipFill>
        <p:spPr bwMode="auto">
          <a:xfrm>
            <a:off x="2779713" y="2921000"/>
            <a:ext cx="4249737" cy="188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200" name="Rectangle 2056"/>
          <p:cNvSpPr>
            <a:spLocks noChangeArrowheads="1"/>
          </p:cNvSpPr>
          <p:nvPr/>
        </p:nvSpPr>
        <p:spPr bwMode="auto">
          <a:xfrm>
            <a:off x="6353175" y="1900238"/>
            <a:ext cx="2520950" cy="477837"/>
          </a:xfrm>
          <a:prstGeom prst="rect">
            <a:avLst/>
          </a:prstGeom>
          <a:solidFill>
            <a:srgbClr val="0000FF"/>
          </a:solidFill>
          <a:ln w="25400">
            <a:solidFill>
              <a:srgbClr val="0000FF"/>
            </a:solidFill>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de-DE" altLang="en-US" sz="1600" b="1">
                <a:solidFill>
                  <a:schemeClr val="tx2"/>
                </a:solidFill>
                <a:latin typeface="Arial" panose="020B0604020202020204" pitchFamily="34" charset="0"/>
              </a:rPr>
              <a:t> </a:t>
            </a:r>
            <a:r>
              <a:rPr lang="en-GB" altLang="en-US" sz="1600" b="1">
                <a:solidFill>
                  <a:schemeClr val="tx2"/>
                </a:solidFill>
                <a:latin typeface="Arial" panose="020B0604020202020204" pitchFamily="34" charset="0"/>
              </a:rPr>
              <a:t>Electronics</a:t>
            </a:r>
            <a:endParaRPr lang="de-DE" altLang="en-US" sz="1600" b="1">
              <a:solidFill>
                <a:schemeClr val="tx2"/>
              </a:solidFill>
              <a:latin typeface="Arial" panose="020B0604020202020204" pitchFamily="34" charset="0"/>
            </a:endParaRPr>
          </a:p>
        </p:txBody>
      </p:sp>
      <p:sp>
        <p:nvSpPr>
          <p:cNvPr id="178201" name="Rectangle 2059"/>
          <p:cNvSpPr>
            <a:spLocks noChangeArrowheads="1"/>
          </p:cNvSpPr>
          <p:nvPr/>
        </p:nvSpPr>
        <p:spPr bwMode="auto">
          <a:xfrm>
            <a:off x="6353175" y="2368550"/>
            <a:ext cx="2520950" cy="1541463"/>
          </a:xfrm>
          <a:prstGeom prst="rect">
            <a:avLst/>
          </a:prstGeom>
          <a:noFill/>
          <a:ln w="9525">
            <a:solidFill>
              <a:srgbClr val="0000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193675" indent="-193675">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lnSpc>
                <a:spcPct val="120000"/>
              </a:lnSpc>
              <a:spcBef>
                <a:spcPct val="0"/>
              </a:spcBef>
              <a:buClr>
                <a:srgbClr val="0000FF"/>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MOLEX: Connectors</a:t>
            </a:r>
          </a:p>
          <a:p>
            <a:pPr eaLnBrk="1" hangingPunct="1">
              <a:lnSpc>
                <a:spcPct val="120000"/>
              </a:lnSpc>
              <a:spcBef>
                <a:spcPct val="0"/>
              </a:spcBef>
              <a:buClr>
                <a:srgbClr val="0000FF"/>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FCI: Connectors</a:t>
            </a:r>
          </a:p>
          <a:p>
            <a:pPr eaLnBrk="1" hangingPunct="1">
              <a:lnSpc>
                <a:spcPct val="120000"/>
              </a:lnSpc>
              <a:spcBef>
                <a:spcPct val="0"/>
              </a:spcBef>
              <a:buClr>
                <a:srgbClr val="0000FF"/>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FUBA: Printed Circuits</a:t>
            </a:r>
          </a:p>
          <a:p>
            <a:pPr eaLnBrk="1" hangingPunct="1">
              <a:lnSpc>
                <a:spcPct val="120000"/>
              </a:lnSpc>
              <a:spcBef>
                <a:spcPct val="0"/>
              </a:spcBef>
              <a:buClr>
                <a:srgbClr val="0000FF"/>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ACTIELEC: Electronic Cards</a:t>
            </a:r>
          </a:p>
          <a:p>
            <a:pPr eaLnBrk="1" hangingPunct="1">
              <a:lnSpc>
                <a:spcPct val="120000"/>
              </a:lnSpc>
              <a:spcBef>
                <a:spcPct val="0"/>
              </a:spcBef>
              <a:buClr>
                <a:srgbClr val="0000FF"/>
              </a:buClr>
              <a:buSzPct val="85000"/>
              <a:buFont typeface="Wingdings" panose="05000000000000000000" pitchFamily="2" charset="2"/>
              <a:buChar char="n"/>
            </a:pPr>
            <a:r>
              <a:rPr lang="en-GB" altLang="en-US" sz="1200" b="1">
                <a:solidFill>
                  <a:srgbClr val="002060"/>
                </a:solidFill>
                <a:latin typeface="Calibri" panose="020F0502020204030204" pitchFamily="34" charset="0"/>
              </a:rPr>
              <a:t>JOHNSON CONTROLS: </a:t>
            </a:r>
          </a:p>
          <a:p>
            <a:pPr eaLnBrk="1" hangingPunct="1">
              <a:lnSpc>
                <a:spcPct val="120000"/>
              </a:lnSpc>
              <a:spcBef>
                <a:spcPct val="0"/>
              </a:spcBef>
              <a:buClr>
                <a:srgbClr val="0000FF"/>
              </a:buClr>
              <a:buSzPct val="85000"/>
              <a:buFontTx/>
              <a:buNone/>
            </a:pPr>
            <a:r>
              <a:rPr lang="en-GB" altLang="en-US" sz="1200" b="1">
                <a:solidFill>
                  <a:srgbClr val="002060"/>
                </a:solidFill>
                <a:latin typeface="Calibri" panose="020F0502020204030204" pitchFamily="34" charset="0"/>
              </a:rPr>
              <a:t>     Cockpit Indicators</a:t>
            </a:r>
            <a:endParaRPr lang="de-DE" altLang="en-US" sz="1200" b="1">
              <a:solidFill>
                <a:srgbClr val="002060"/>
              </a:solidFill>
              <a:latin typeface="Calibri" panose="020F0502020204030204" pitchFamily="34" charset="0"/>
            </a:endParaRPr>
          </a:p>
        </p:txBody>
      </p:sp>
    </p:spTree>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ZoneTexte 49"/>
          <p:cNvSpPr txBox="1">
            <a:spLocks noChangeArrowheads="1"/>
          </p:cNvSpPr>
          <p:nvPr/>
        </p:nvSpPr>
        <p:spPr bwMode="auto">
          <a:xfrm>
            <a:off x="469900" y="2259013"/>
            <a:ext cx="792163" cy="261937"/>
          </a:xfrm>
          <a:prstGeom prst="rect">
            <a:avLst/>
          </a:prstGeom>
          <a:solidFill>
            <a:srgbClr val="09038B"/>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50000"/>
              </a:spcBef>
              <a:buFontTx/>
              <a:buNone/>
            </a:pPr>
            <a:r>
              <a:rPr lang="fr-FR" altLang="en-US" sz="1100" b="1">
                <a:solidFill>
                  <a:schemeClr val="tx2"/>
                </a:solidFill>
                <a:latin typeface="Arial" panose="020B0604020202020204" pitchFamily="34" charset="0"/>
                <a:ea typeface="Arial Unicode MS" panose="020B0604020202020204" pitchFamily="34" charset="-128"/>
                <a:cs typeface="Arial Unicode MS" panose="020B0604020202020204" pitchFamily="34" charset="-128"/>
              </a:rPr>
              <a:t>BPO </a:t>
            </a:r>
          </a:p>
        </p:txBody>
      </p:sp>
      <p:sp>
        <p:nvSpPr>
          <p:cNvPr id="180227" name="ZoneTexte 50"/>
          <p:cNvSpPr txBox="1">
            <a:spLocks noChangeArrowheads="1"/>
          </p:cNvSpPr>
          <p:nvPr/>
        </p:nvSpPr>
        <p:spPr bwMode="auto">
          <a:xfrm>
            <a:off x="1474788" y="2259013"/>
            <a:ext cx="720725" cy="261937"/>
          </a:xfrm>
          <a:prstGeom prst="rect">
            <a:avLst/>
          </a:prstGeom>
          <a:solidFill>
            <a:srgbClr val="09038B"/>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50000"/>
              </a:spcBef>
              <a:buFontTx/>
              <a:buNone/>
            </a:pPr>
            <a:r>
              <a:rPr lang="fr-FR" altLang="en-US" sz="1100" b="1">
                <a:solidFill>
                  <a:schemeClr val="tx2"/>
                </a:solidFill>
                <a:latin typeface="Arial" panose="020B0604020202020204" pitchFamily="34" charset="0"/>
                <a:ea typeface="Arial Unicode MS" panose="020B0604020202020204" pitchFamily="34" charset="-128"/>
                <a:cs typeface="Arial Unicode MS" panose="020B0604020202020204" pitchFamily="34" charset="-128"/>
              </a:rPr>
              <a:t>ITO </a:t>
            </a:r>
          </a:p>
        </p:txBody>
      </p:sp>
      <p:sp>
        <p:nvSpPr>
          <p:cNvPr id="180228" name="ZoneTexte 51"/>
          <p:cNvSpPr txBox="1">
            <a:spLocks noChangeArrowheads="1"/>
          </p:cNvSpPr>
          <p:nvPr/>
        </p:nvSpPr>
        <p:spPr bwMode="auto">
          <a:xfrm>
            <a:off x="2555875" y="2259013"/>
            <a:ext cx="755650" cy="261937"/>
          </a:xfrm>
          <a:prstGeom prst="rect">
            <a:avLst/>
          </a:prstGeom>
          <a:solidFill>
            <a:srgbClr val="09038B"/>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50000"/>
              </a:spcBef>
              <a:buFontTx/>
              <a:buNone/>
            </a:pPr>
            <a:r>
              <a:rPr lang="fr-FR" altLang="en-US" sz="1100" b="1">
                <a:solidFill>
                  <a:schemeClr val="tx2"/>
                </a:solidFill>
                <a:latin typeface="Arial" panose="020B0604020202020204" pitchFamily="34" charset="0"/>
                <a:ea typeface="Arial Unicode MS" panose="020B0604020202020204" pitchFamily="34" charset="-128"/>
                <a:cs typeface="Arial Unicode MS" panose="020B0604020202020204" pitchFamily="34" charset="-128"/>
              </a:rPr>
              <a:t>R&amp;D </a:t>
            </a:r>
          </a:p>
        </p:txBody>
      </p:sp>
      <p:grpSp>
        <p:nvGrpSpPr>
          <p:cNvPr id="180229" name="Grouper 12"/>
          <p:cNvGrpSpPr>
            <a:grpSpLocks/>
          </p:cNvGrpSpPr>
          <p:nvPr/>
        </p:nvGrpSpPr>
        <p:grpSpPr bwMode="auto">
          <a:xfrm>
            <a:off x="4556125" y="2254250"/>
            <a:ext cx="4083050" cy="2622550"/>
            <a:chOff x="-2073421" y="3028579"/>
            <a:chExt cx="6095451" cy="1643272"/>
          </a:xfrm>
        </p:grpSpPr>
        <p:sp>
          <p:nvSpPr>
            <p:cNvPr id="33" name="Rectangle 32"/>
            <p:cNvSpPr/>
            <p:nvPr/>
          </p:nvSpPr>
          <p:spPr bwMode="auto">
            <a:xfrm>
              <a:off x="-2073421" y="3030568"/>
              <a:ext cx="6095451" cy="1641283"/>
            </a:xfrm>
            <a:prstGeom prst="rect">
              <a:avLst/>
            </a:prstGeom>
            <a:solidFill>
              <a:srgbClr val="565A5C">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500">
                <a:solidFill>
                  <a:schemeClr val="tx2"/>
                </a:solidFill>
              </a:endParaRPr>
            </a:p>
          </p:txBody>
        </p:sp>
        <p:sp>
          <p:nvSpPr>
            <p:cNvPr id="32" name="Espace réservé du texte 49"/>
            <p:cNvSpPr txBox="1">
              <a:spLocks/>
            </p:cNvSpPr>
            <p:nvPr/>
          </p:nvSpPr>
          <p:spPr>
            <a:xfrm>
              <a:off x="-1909895" y="3028579"/>
              <a:ext cx="5789730" cy="1498043"/>
            </a:xfrm>
            <a:prstGeom prst="rect">
              <a:avLst/>
            </a:prstGeom>
          </p:spPr>
          <p:txBody>
            <a:bodyPr anchor="ctr"/>
            <a:lstStyle/>
            <a:p>
              <a:pPr marL="285750" indent="-285750" algn="just" eaLnBrk="1" hangingPunct="1">
                <a:buClr>
                  <a:srgbClr val="99CCFF"/>
                </a:buClr>
                <a:buSzPct val="105000"/>
                <a:buFont typeface="Arial" panose="020B0604020202020204" pitchFamily="34" charset="0"/>
                <a:buChar char="•"/>
                <a:defRPr/>
              </a:pPr>
              <a:endParaRPr lang="fr-FR" sz="1500" kern="0" dirty="0">
                <a:solidFill>
                  <a:schemeClr val="tx2"/>
                </a:solidFill>
                <a:latin typeface="Trebuchet MS" pitchFamily="34" charset="0"/>
                <a:cs typeface="Tahoma"/>
              </a:endParaRPr>
            </a:p>
            <a:p>
              <a:pPr marL="190500" indent="-285750" algn="just" eaLnBrk="1" hangingPunct="1">
                <a:buClr>
                  <a:srgbClr val="99CCFF"/>
                </a:buClr>
                <a:buSzPct val="105000"/>
                <a:buFont typeface="Arial" pitchFamily="34" charset="0"/>
                <a:buChar char="•"/>
                <a:defRPr/>
              </a:pPr>
              <a:r>
                <a:rPr lang="fr-FR" sz="1500" kern="0" dirty="0" err="1">
                  <a:solidFill>
                    <a:schemeClr val="tx2"/>
                  </a:solidFill>
                  <a:latin typeface="Trebuchet MS" pitchFamily="34" charset="0"/>
                  <a:cs typeface="Tahoma"/>
                </a:rPr>
                <a:t>Very</a:t>
              </a:r>
              <a:r>
                <a:rPr lang="fr-FR" sz="1500" b="1" dirty="0">
                  <a:solidFill>
                    <a:srgbClr val="00507A"/>
                  </a:solidFill>
                  <a:latin typeface="Century Gothic" pitchFamily="34" charset="0"/>
                </a:rPr>
                <a:t> </a:t>
              </a:r>
              <a:r>
                <a:rPr lang="fr-FR" sz="1500" kern="0" dirty="0">
                  <a:solidFill>
                    <a:schemeClr val="tx2"/>
                  </a:solidFill>
                  <a:latin typeface="Trebuchet MS" pitchFamily="34" charset="0"/>
                  <a:cs typeface="Tahoma"/>
                </a:rPr>
                <a:t>favorable implantation conditions</a:t>
              </a:r>
            </a:p>
            <a:p>
              <a:pPr marL="190500" indent="-285750" algn="just" eaLnBrk="1" hangingPunct="1">
                <a:buClr>
                  <a:srgbClr val="99CCFF"/>
                </a:buClr>
                <a:buSzPct val="105000"/>
                <a:buFont typeface="Arial" pitchFamily="34" charset="0"/>
                <a:buChar char="•"/>
                <a:defRPr/>
              </a:pPr>
              <a:endParaRPr lang="fr-FR" sz="1500" kern="0" dirty="0">
                <a:solidFill>
                  <a:schemeClr val="tx2"/>
                </a:solidFill>
                <a:latin typeface="Trebuchet MS" pitchFamily="34" charset="0"/>
                <a:cs typeface="Tahoma"/>
              </a:endParaRPr>
            </a:p>
            <a:p>
              <a:pPr marL="190500" indent="-285750" algn="just" eaLnBrk="1" hangingPunct="1">
                <a:buClr>
                  <a:srgbClr val="99CCFF"/>
                </a:buClr>
                <a:buSzPct val="105000"/>
                <a:buFont typeface="Arial" pitchFamily="34" charset="0"/>
                <a:buChar char="•"/>
                <a:defRPr/>
              </a:pPr>
              <a:r>
                <a:rPr lang="fr-FR" sz="1500" kern="0" dirty="0">
                  <a:solidFill>
                    <a:schemeClr val="tx2"/>
                  </a:solidFill>
                  <a:latin typeface="Trebuchet MS" pitchFamily="34" charset="0"/>
                  <a:cs typeface="Tahoma"/>
                </a:rPr>
                <a:t>The </a:t>
              </a:r>
              <a:r>
                <a:rPr lang="fr-FR" sz="1500" kern="0" dirty="0" err="1">
                  <a:solidFill>
                    <a:schemeClr val="tx2"/>
                  </a:solidFill>
                  <a:latin typeface="Trebuchet MS" pitchFamily="34" charset="0"/>
                  <a:cs typeface="Tahoma"/>
                </a:rPr>
                <a:t>Tunisian</a:t>
              </a:r>
              <a:r>
                <a:rPr lang="fr-FR" sz="1500" kern="0" dirty="0">
                  <a:solidFill>
                    <a:schemeClr val="tx2"/>
                  </a:solidFill>
                  <a:latin typeface="Trebuchet MS" pitchFamily="34" charset="0"/>
                  <a:cs typeface="Tahoma"/>
                </a:rPr>
                <a:t> </a:t>
              </a:r>
              <a:r>
                <a:rPr lang="fr-FR" sz="1500" kern="0" dirty="0" err="1">
                  <a:solidFill>
                    <a:schemeClr val="tx2"/>
                  </a:solidFill>
                  <a:latin typeface="Trebuchet MS" pitchFamily="34" charset="0"/>
                  <a:cs typeface="Tahoma"/>
                </a:rPr>
                <a:t>Telecommunication</a:t>
              </a:r>
              <a:endParaRPr lang="fr-FR" sz="1500" kern="0" dirty="0">
                <a:solidFill>
                  <a:schemeClr val="tx2"/>
                </a:solidFill>
                <a:latin typeface="Trebuchet MS" pitchFamily="34" charset="0"/>
                <a:cs typeface="Tahoma"/>
              </a:endParaRPr>
            </a:p>
            <a:p>
              <a:pPr algn="just" eaLnBrk="1" hangingPunct="1">
                <a:buClr>
                  <a:srgbClr val="99CCFF"/>
                </a:buClr>
                <a:buSzPct val="105000"/>
                <a:defRPr/>
              </a:pPr>
              <a:r>
                <a:rPr lang="fr-FR" sz="1500" kern="0" dirty="0">
                  <a:solidFill>
                    <a:schemeClr val="tx2"/>
                  </a:solidFill>
                  <a:latin typeface="Trebuchet MS" pitchFamily="34" charset="0"/>
                  <a:cs typeface="Tahoma"/>
                </a:rPr>
                <a:t>     network </a:t>
              </a:r>
              <a:r>
                <a:rPr lang="fr-FR" sz="1500" kern="0" dirty="0" err="1">
                  <a:solidFill>
                    <a:schemeClr val="tx2"/>
                  </a:solidFill>
                  <a:latin typeface="Trebuchet MS" pitchFamily="34" charset="0"/>
                  <a:cs typeface="Tahoma"/>
                </a:rPr>
                <a:t>is</a:t>
              </a:r>
              <a:r>
                <a:rPr lang="fr-FR" sz="1500" kern="0" dirty="0">
                  <a:solidFill>
                    <a:schemeClr val="tx2"/>
                  </a:solidFill>
                  <a:latin typeface="Trebuchet MS" pitchFamily="34" charset="0"/>
                  <a:cs typeface="Tahoma"/>
                </a:rPr>
                <a:t> </a:t>
              </a:r>
              <a:r>
                <a:rPr lang="fr-FR" sz="1500" kern="0" dirty="0" err="1">
                  <a:solidFill>
                    <a:schemeClr val="tx2"/>
                  </a:solidFill>
                  <a:latin typeface="Trebuchet MS" pitchFamily="34" charset="0"/>
                  <a:cs typeface="Tahoma"/>
                </a:rPr>
                <a:t>actually</a:t>
              </a:r>
              <a:r>
                <a:rPr lang="fr-FR" sz="1500" kern="0" dirty="0">
                  <a:solidFill>
                    <a:schemeClr val="tx2"/>
                  </a:solidFill>
                  <a:latin typeface="Trebuchet MS" pitchFamily="34" charset="0"/>
                  <a:cs typeface="Tahoma"/>
                </a:rPr>
                <a:t> </a:t>
              </a:r>
              <a:r>
                <a:rPr lang="fr-FR" sz="1500" kern="0" dirty="0" err="1">
                  <a:solidFill>
                    <a:schemeClr val="tx2"/>
                  </a:solidFill>
                  <a:latin typeface="Trebuchet MS" pitchFamily="34" charset="0"/>
                  <a:cs typeface="Tahoma"/>
                </a:rPr>
                <a:t>among</a:t>
              </a:r>
              <a:r>
                <a:rPr lang="fr-FR" sz="1500" kern="0" dirty="0">
                  <a:solidFill>
                    <a:schemeClr val="tx2"/>
                  </a:solidFill>
                  <a:latin typeface="Trebuchet MS" pitchFamily="34" charset="0"/>
                  <a:cs typeface="Tahoma"/>
                </a:rPr>
                <a:t> the </a:t>
              </a:r>
              <a:r>
                <a:rPr lang="fr-FR" sz="1500" kern="0" dirty="0" err="1">
                  <a:solidFill>
                    <a:schemeClr val="tx2"/>
                  </a:solidFill>
                  <a:latin typeface="Trebuchet MS" pitchFamily="34" charset="0"/>
                  <a:cs typeface="Tahoma"/>
                </a:rPr>
                <a:t>most</a:t>
              </a:r>
              <a:endParaRPr lang="fr-FR" sz="1500" kern="0" dirty="0">
                <a:solidFill>
                  <a:schemeClr val="tx2"/>
                </a:solidFill>
                <a:latin typeface="Trebuchet MS" pitchFamily="34" charset="0"/>
                <a:cs typeface="Tahoma"/>
              </a:endParaRPr>
            </a:p>
            <a:p>
              <a:pPr algn="just" eaLnBrk="1" hangingPunct="1">
                <a:buClr>
                  <a:srgbClr val="99CCFF"/>
                </a:buClr>
                <a:buSzPct val="105000"/>
                <a:defRPr/>
              </a:pPr>
              <a:r>
                <a:rPr lang="fr-FR" sz="1500" kern="0" dirty="0">
                  <a:solidFill>
                    <a:schemeClr val="tx2"/>
                  </a:solidFill>
                  <a:latin typeface="Trebuchet MS" pitchFamily="34" charset="0"/>
                  <a:cs typeface="Tahoma"/>
                </a:rPr>
                <a:t>     modern in the </a:t>
              </a:r>
              <a:r>
                <a:rPr lang="fr-FR" sz="1500" kern="0" dirty="0" err="1">
                  <a:solidFill>
                    <a:schemeClr val="tx2"/>
                  </a:solidFill>
                  <a:latin typeface="Trebuchet MS" pitchFamily="34" charset="0"/>
                  <a:cs typeface="Tahoma"/>
                </a:rPr>
                <a:t>mediterranean</a:t>
              </a:r>
              <a:r>
                <a:rPr lang="fr-FR" sz="1500" kern="0" dirty="0">
                  <a:solidFill>
                    <a:schemeClr val="tx2"/>
                  </a:solidFill>
                  <a:latin typeface="Trebuchet MS" pitchFamily="34" charset="0"/>
                  <a:cs typeface="Tahoma"/>
                </a:rPr>
                <a:t> basin,</a:t>
              </a:r>
            </a:p>
            <a:p>
              <a:pPr algn="just" eaLnBrk="1" hangingPunct="1">
                <a:buClr>
                  <a:srgbClr val="99CCFF"/>
                </a:buClr>
                <a:buSzPct val="105000"/>
                <a:defRPr/>
              </a:pPr>
              <a:r>
                <a:rPr lang="fr-FR" sz="1500" kern="0" dirty="0">
                  <a:solidFill>
                    <a:schemeClr val="tx2"/>
                  </a:solidFill>
                  <a:latin typeface="Trebuchet MS" pitchFamily="34" charset="0"/>
                  <a:cs typeface="Tahoma"/>
                </a:rPr>
                <a:t>     </a:t>
              </a:r>
              <a:r>
                <a:rPr lang="fr-FR" sz="1500" kern="0" dirty="0" err="1">
                  <a:solidFill>
                    <a:schemeClr val="tx2"/>
                  </a:solidFill>
                  <a:latin typeface="Trebuchet MS" pitchFamily="34" charset="0"/>
                  <a:cs typeface="Tahoma"/>
                </a:rPr>
                <a:t>with</a:t>
              </a:r>
              <a:r>
                <a:rPr lang="fr-FR" sz="1500" kern="0" dirty="0">
                  <a:solidFill>
                    <a:schemeClr val="tx2"/>
                  </a:solidFill>
                  <a:latin typeface="Trebuchet MS" pitchFamily="34" charset="0"/>
                  <a:cs typeface="Tahoma"/>
                </a:rPr>
                <a:t> high speed </a:t>
              </a:r>
              <a:r>
                <a:rPr lang="fr-FR" sz="1500" kern="0" dirty="0" err="1">
                  <a:solidFill>
                    <a:schemeClr val="tx2"/>
                  </a:solidFill>
                  <a:latin typeface="Trebuchet MS" pitchFamily="34" charset="0"/>
                  <a:cs typeface="Tahoma"/>
                </a:rPr>
                <a:t>multifunction</a:t>
              </a:r>
              <a:r>
                <a:rPr lang="fr-FR" sz="1500" kern="0" dirty="0">
                  <a:solidFill>
                    <a:schemeClr val="tx2"/>
                  </a:solidFill>
                  <a:latin typeface="Trebuchet MS" pitchFamily="34" charset="0"/>
                  <a:cs typeface="Tahoma"/>
                </a:rPr>
                <a:t> switches</a:t>
              </a:r>
            </a:p>
            <a:p>
              <a:pPr algn="just" eaLnBrk="1" hangingPunct="1">
                <a:buClr>
                  <a:srgbClr val="99CCFF"/>
                </a:buClr>
                <a:buSzPct val="105000"/>
                <a:defRPr/>
              </a:pPr>
              <a:r>
                <a:rPr lang="fr-FR" sz="1500" kern="0" dirty="0">
                  <a:solidFill>
                    <a:schemeClr val="tx2"/>
                  </a:solidFill>
                  <a:latin typeface="Trebuchet MS" pitchFamily="34" charset="0"/>
                  <a:cs typeface="Tahoma"/>
                </a:rPr>
                <a:t>     </a:t>
              </a:r>
              <a:r>
                <a:rPr lang="fr-FR" sz="1500" kern="0" dirty="0" err="1">
                  <a:solidFill>
                    <a:schemeClr val="tx2"/>
                  </a:solidFill>
                  <a:latin typeface="Trebuchet MS" pitchFamily="34" charset="0"/>
                  <a:cs typeface="Tahoma"/>
                </a:rPr>
                <a:t>ensuring</a:t>
              </a:r>
              <a:r>
                <a:rPr lang="fr-FR" sz="1500" kern="0" dirty="0">
                  <a:solidFill>
                    <a:schemeClr val="tx2"/>
                  </a:solidFill>
                  <a:latin typeface="Trebuchet MS" pitchFamily="34" charset="0"/>
                  <a:cs typeface="Tahoma"/>
                </a:rPr>
                <a:t> at the </a:t>
              </a:r>
              <a:r>
                <a:rPr lang="fr-FR" sz="1500" kern="0" dirty="0" err="1">
                  <a:solidFill>
                    <a:schemeClr val="tx2"/>
                  </a:solidFill>
                  <a:latin typeface="Trebuchet MS" pitchFamily="34" charset="0"/>
                  <a:cs typeface="Tahoma"/>
                </a:rPr>
                <a:t>same</a:t>
              </a:r>
              <a:r>
                <a:rPr lang="fr-FR" sz="1500" kern="0" dirty="0">
                  <a:solidFill>
                    <a:schemeClr val="tx2"/>
                  </a:solidFill>
                  <a:latin typeface="Trebuchet MS" pitchFamily="34" charset="0"/>
                  <a:cs typeface="Tahoma"/>
                </a:rPr>
                <a:t> time </a:t>
              </a:r>
              <a:r>
                <a:rPr lang="fr-FR" sz="1500" kern="0" dirty="0" err="1">
                  <a:solidFill>
                    <a:schemeClr val="tx2"/>
                  </a:solidFill>
                  <a:latin typeface="Trebuchet MS" pitchFamily="34" charset="0"/>
                  <a:cs typeface="Tahoma"/>
                </a:rPr>
                <a:t>telephone</a:t>
              </a:r>
              <a:r>
                <a:rPr lang="fr-FR" sz="1500" kern="0" dirty="0">
                  <a:solidFill>
                    <a:schemeClr val="tx2"/>
                  </a:solidFill>
                  <a:latin typeface="Trebuchet MS" pitchFamily="34" charset="0"/>
                  <a:cs typeface="Tahoma"/>
                </a:rPr>
                <a:t>,</a:t>
              </a:r>
            </a:p>
            <a:p>
              <a:pPr algn="just" eaLnBrk="1" hangingPunct="1">
                <a:buClr>
                  <a:srgbClr val="99CCFF"/>
                </a:buClr>
                <a:buSzPct val="105000"/>
                <a:defRPr/>
              </a:pPr>
              <a:r>
                <a:rPr lang="fr-FR" sz="1500" kern="0" dirty="0">
                  <a:solidFill>
                    <a:schemeClr val="tx2"/>
                  </a:solidFill>
                  <a:latin typeface="Trebuchet MS" pitchFamily="34" charset="0"/>
                  <a:cs typeface="Tahoma"/>
                </a:rPr>
                <a:t>     Internet and </a:t>
              </a:r>
              <a:r>
                <a:rPr lang="fr-FR" sz="1500" kern="0" dirty="0" err="1">
                  <a:solidFill>
                    <a:schemeClr val="tx2"/>
                  </a:solidFill>
                  <a:latin typeface="Trebuchet MS" pitchFamily="34" charset="0"/>
                  <a:cs typeface="Tahoma"/>
                </a:rPr>
                <a:t>Multimedia</a:t>
              </a:r>
              <a:r>
                <a:rPr lang="fr-FR" sz="1500" kern="0" dirty="0">
                  <a:solidFill>
                    <a:schemeClr val="tx2"/>
                  </a:solidFill>
                  <a:latin typeface="Trebuchet MS" pitchFamily="34" charset="0"/>
                  <a:cs typeface="Tahoma"/>
                </a:rPr>
                <a:t> </a:t>
              </a:r>
              <a:r>
                <a:rPr lang="fr-FR" sz="1500" kern="0" dirty="0" err="1">
                  <a:solidFill>
                    <a:schemeClr val="tx2"/>
                  </a:solidFill>
                  <a:latin typeface="Trebuchet MS" pitchFamily="34" charset="0"/>
                  <a:cs typeface="Tahoma"/>
                </a:rPr>
                <a:t>traffic</a:t>
              </a:r>
              <a:endParaRPr lang="en-US" sz="1500" kern="0" dirty="0">
                <a:solidFill>
                  <a:schemeClr val="tx2"/>
                </a:solidFill>
                <a:latin typeface="Trebuchet MS" pitchFamily="34" charset="0"/>
                <a:cs typeface="Tahoma"/>
              </a:endParaRPr>
            </a:p>
          </p:txBody>
        </p:sp>
      </p:grpSp>
      <p:pic>
        <p:nvPicPr>
          <p:cNvPr id="18023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50" y="2636838"/>
            <a:ext cx="3046413" cy="357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7" name="Text Box 5"/>
          <p:cNvSpPr txBox="1">
            <a:spLocks noChangeArrowheads="1"/>
          </p:cNvSpPr>
          <p:nvPr/>
        </p:nvSpPr>
        <p:spPr bwMode="auto">
          <a:xfrm>
            <a:off x="179388" y="223838"/>
            <a:ext cx="7129462"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defTabSz="801688">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defTabSz="801688">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defTabSz="801688">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spcBef>
                <a:spcPct val="0"/>
              </a:spcBef>
              <a:buFontTx/>
              <a:buNone/>
              <a:defRPr/>
            </a:pP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IT &amp; Outsourcing</a:t>
            </a:r>
          </a:p>
        </p:txBody>
      </p:sp>
      <p:sp>
        <p:nvSpPr>
          <p:cNvPr id="14" name="Rectangle 13"/>
          <p:cNvSpPr/>
          <p:nvPr/>
        </p:nvSpPr>
        <p:spPr>
          <a:xfrm>
            <a:off x="3487738" y="5229225"/>
            <a:ext cx="5608637" cy="1230313"/>
          </a:xfrm>
          <a:prstGeom prst="rect">
            <a:avLst/>
          </a:prstGeom>
          <a:solidFill>
            <a:schemeClr val="bg2">
              <a:lumMod val="20000"/>
              <a:lumOff val="80000"/>
            </a:schemeClr>
          </a:solidFill>
        </p:spPr>
        <p:txBody>
          <a:bodyPr>
            <a:spAutoFit/>
          </a:bodyPr>
          <a:lstStyle/>
          <a:p>
            <a:pPr>
              <a:defRPr/>
            </a:pPr>
            <a:r>
              <a:rPr lang="fr-FR" sz="1400" dirty="0" err="1">
                <a:solidFill>
                  <a:srgbClr val="000000"/>
                </a:solidFill>
                <a:latin typeface="Calibri" pitchFamily="34" charset="0"/>
                <a:cs typeface="Calibri" pitchFamily="34" charset="0"/>
              </a:rPr>
              <a:t>Tunisia</a:t>
            </a:r>
            <a:r>
              <a:rPr lang="fr-FR" sz="1400" dirty="0">
                <a:solidFill>
                  <a:srgbClr val="000000"/>
                </a:solidFill>
                <a:latin typeface="Calibri" pitchFamily="34" charset="0"/>
                <a:cs typeface="Calibri" pitchFamily="34" charset="0"/>
              </a:rPr>
              <a:t> </a:t>
            </a:r>
            <a:r>
              <a:rPr lang="fr-FR" sz="1400" dirty="0" err="1">
                <a:solidFill>
                  <a:srgbClr val="000000"/>
                </a:solidFill>
                <a:latin typeface="Calibri" pitchFamily="34" charset="0"/>
                <a:cs typeface="Calibri" pitchFamily="34" charset="0"/>
              </a:rPr>
              <a:t>is</a:t>
            </a:r>
            <a:r>
              <a:rPr lang="fr-FR" sz="1400" dirty="0">
                <a:solidFill>
                  <a:srgbClr val="000000"/>
                </a:solidFill>
                <a:latin typeface="Calibri" pitchFamily="34" charset="0"/>
                <a:cs typeface="Calibri" pitchFamily="34" charset="0"/>
              </a:rPr>
              <a:t> </a:t>
            </a:r>
            <a:r>
              <a:rPr lang="fr-FR" sz="1400" dirty="0" err="1">
                <a:solidFill>
                  <a:srgbClr val="000000"/>
                </a:solidFill>
                <a:latin typeface="Calibri" pitchFamily="34" charset="0"/>
                <a:cs typeface="Calibri" pitchFamily="34" charset="0"/>
              </a:rPr>
              <a:t>ranked</a:t>
            </a:r>
            <a:r>
              <a:rPr lang="fr-FR" sz="1400" dirty="0">
                <a:solidFill>
                  <a:srgbClr val="000000"/>
                </a:solidFill>
                <a:latin typeface="Calibri" pitchFamily="34" charset="0"/>
                <a:cs typeface="Calibri" pitchFamily="34" charset="0"/>
              </a:rPr>
              <a:t> </a:t>
            </a:r>
            <a:r>
              <a:rPr lang="fr-FR" sz="3200" b="1" dirty="0">
                <a:solidFill>
                  <a:schemeClr val="accent3">
                    <a:lumMod val="75000"/>
                  </a:schemeClr>
                </a:solidFill>
                <a:latin typeface="Calibri" pitchFamily="34" charset="0"/>
                <a:cs typeface="Calibri" pitchFamily="34" charset="0"/>
              </a:rPr>
              <a:t>1</a:t>
            </a:r>
            <a:r>
              <a:rPr lang="fr-FR" sz="3200" b="1" baseline="30000" dirty="0">
                <a:solidFill>
                  <a:schemeClr val="accent3">
                    <a:lumMod val="75000"/>
                  </a:schemeClr>
                </a:solidFill>
                <a:latin typeface="Calibri" pitchFamily="34" charset="0"/>
                <a:cs typeface="Calibri" pitchFamily="34" charset="0"/>
              </a:rPr>
              <a:t>st</a:t>
            </a:r>
            <a:r>
              <a:rPr lang="fr-FR" sz="2800" dirty="0">
                <a:solidFill>
                  <a:schemeClr val="accent3">
                    <a:lumMod val="75000"/>
                  </a:schemeClr>
                </a:solidFill>
                <a:latin typeface="Calibri" pitchFamily="34" charset="0"/>
                <a:cs typeface="Calibri" pitchFamily="34" charset="0"/>
              </a:rPr>
              <a:t> </a:t>
            </a:r>
            <a:r>
              <a:rPr lang="fr-FR" sz="1400" dirty="0">
                <a:solidFill>
                  <a:srgbClr val="000000"/>
                </a:solidFill>
                <a:latin typeface="Calibri" pitchFamily="34" charset="0"/>
                <a:cs typeface="Calibri" pitchFamily="34" charset="0"/>
              </a:rPr>
              <a:t>in </a:t>
            </a:r>
            <a:r>
              <a:rPr lang="fr-FR" sz="1400" dirty="0" err="1">
                <a:solidFill>
                  <a:srgbClr val="C00000"/>
                </a:solidFill>
                <a:latin typeface="Calibri" pitchFamily="34" charset="0"/>
                <a:cs typeface="Calibri" pitchFamily="34" charset="0"/>
              </a:rPr>
              <a:t>North</a:t>
            </a:r>
            <a:r>
              <a:rPr lang="fr-FR" sz="1400" dirty="0">
                <a:solidFill>
                  <a:srgbClr val="C00000"/>
                </a:solidFill>
                <a:latin typeface="Calibri" pitchFamily="34" charset="0"/>
                <a:cs typeface="Calibri" pitchFamily="34" charset="0"/>
              </a:rPr>
              <a:t> </a:t>
            </a:r>
            <a:r>
              <a:rPr lang="fr-FR" sz="1400" dirty="0" err="1">
                <a:solidFill>
                  <a:srgbClr val="C00000"/>
                </a:solidFill>
                <a:latin typeface="Calibri" pitchFamily="34" charset="0"/>
                <a:cs typeface="Calibri" pitchFamily="34" charset="0"/>
              </a:rPr>
              <a:t>Africa</a:t>
            </a:r>
            <a:r>
              <a:rPr lang="fr-FR" sz="1400" dirty="0">
                <a:solidFill>
                  <a:srgbClr val="C00000"/>
                </a:solidFill>
                <a:latin typeface="Calibri" pitchFamily="34" charset="0"/>
                <a:cs typeface="Calibri" pitchFamily="34" charset="0"/>
              </a:rPr>
              <a:t> </a:t>
            </a:r>
            <a:r>
              <a:rPr lang="fr-FR" sz="1400" dirty="0">
                <a:solidFill>
                  <a:srgbClr val="000000"/>
                </a:solidFill>
                <a:latin typeface="Calibri" pitchFamily="34" charset="0"/>
                <a:cs typeface="Calibri" pitchFamily="34" charset="0"/>
              </a:rPr>
              <a:t>in </a:t>
            </a:r>
            <a:r>
              <a:rPr lang="fr-FR" sz="1400" dirty="0" err="1">
                <a:solidFill>
                  <a:srgbClr val="000000"/>
                </a:solidFill>
                <a:latin typeface="Calibri" pitchFamily="34" charset="0"/>
                <a:cs typeface="Calibri" pitchFamily="34" charset="0"/>
              </a:rPr>
              <a:t>terms</a:t>
            </a:r>
            <a:r>
              <a:rPr lang="fr-FR" sz="1400" dirty="0">
                <a:solidFill>
                  <a:srgbClr val="000000"/>
                </a:solidFill>
                <a:latin typeface="Calibri" pitchFamily="34" charset="0"/>
                <a:cs typeface="Calibri" pitchFamily="34" charset="0"/>
              </a:rPr>
              <a:t> of:</a:t>
            </a:r>
          </a:p>
          <a:p>
            <a:pPr>
              <a:defRPr/>
            </a:pPr>
            <a:endParaRPr lang="fr-FR" sz="1400" dirty="0">
              <a:solidFill>
                <a:srgbClr val="000000"/>
              </a:solidFill>
              <a:latin typeface="Calibri" pitchFamily="34" charset="0"/>
              <a:cs typeface="Calibri" pitchFamily="34" charset="0"/>
            </a:endParaRPr>
          </a:p>
          <a:p>
            <a:pPr marL="285750" indent="-285750">
              <a:buClr>
                <a:srgbClr val="C00000"/>
              </a:buClr>
              <a:buFont typeface="Arial" pitchFamily="34" charset="0"/>
              <a:buChar char="•"/>
              <a:defRPr/>
            </a:pPr>
            <a:r>
              <a:rPr lang="fr-FR" sz="1400" b="1" dirty="0">
                <a:solidFill>
                  <a:srgbClr val="000000"/>
                </a:solidFill>
                <a:latin typeface="Calibri" pitchFamily="34" charset="0"/>
                <a:cs typeface="Calibri" pitchFamily="34" charset="0"/>
              </a:rPr>
              <a:t>ICT </a:t>
            </a:r>
            <a:r>
              <a:rPr lang="fr-FR" sz="1400" b="1" dirty="0" err="1">
                <a:solidFill>
                  <a:srgbClr val="000000"/>
                </a:solidFill>
                <a:latin typeface="Calibri" pitchFamily="34" charset="0"/>
                <a:cs typeface="Calibri" pitchFamily="34" charset="0"/>
              </a:rPr>
              <a:t>Development</a:t>
            </a:r>
            <a:r>
              <a:rPr lang="fr-FR" sz="1400" b="1" dirty="0">
                <a:solidFill>
                  <a:srgbClr val="000000"/>
                </a:solidFill>
                <a:latin typeface="Calibri" pitchFamily="34" charset="0"/>
                <a:cs typeface="Calibri" pitchFamily="34" charset="0"/>
              </a:rPr>
              <a:t> | </a:t>
            </a:r>
            <a:r>
              <a:rPr lang="fr-FR" sz="1400" dirty="0">
                <a:solidFill>
                  <a:srgbClr val="000000"/>
                </a:solidFill>
                <a:latin typeface="Calibri" pitchFamily="34" charset="0"/>
                <a:cs typeface="Calibri" pitchFamily="34" charset="0"/>
              </a:rPr>
              <a:t>"</a:t>
            </a:r>
            <a:r>
              <a:rPr lang="fr-FR" sz="1400" dirty="0" err="1">
                <a:solidFill>
                  <a:srgbClr val="000000"/>
                </a:solidFill>
                <a:latin typeface="Calibri" pitchFamily="34" charset="0"/>
                <a:cs typeface="Calibri" pitchFamily="34" charset="0"/>
              </a:rPr>
              <a:t>Measuring</a:t>
            </a:r>
            <a:r>
              <a:rPr lang="fr-FR" sz="1400" dirty="0">
                <a:solidFill>
                  <a:srgbClr val="000000"/>
                </a:solidFill>
                <a:latin typeface="Calibri" pitchFamily="34" charset="0"/>
                <a:cs typeface="Calibri" pitchFamily="34" charset="0"/>
              </a:rPr>
              <a:t> the Information Society Report, 2016"</a:t>
            </a:r>
          </a:p>
          <a:p>
            <a:pPr marL="285750" indent="-285750">
              <a:buClr>
                <a:srgbClr val="C00000"/>
              </a:buClr>
              <a:buFont typeface="Arial" pitchFamily="34" charset="0"/>
              <a:buChar char="•"/>
              <a:defRPr/>
            </a:pPr>
            <a:r>
              <a:rPr lang="fr-FR" sz="1400" b="1" dirty="0">
                <a:solidFill>
                  <a:srgbClr val="000000"/>
                </a:solidFill>
                <a:latin typeface="Calibri" pitchFamily="34" charset="0"/>
                <a:cs typeface="Calibri" pitchFamily="34" charset="0"/>
              </a:rPr>
              <a:t>Transition to E-commerce | </a:t>
            </a:r>
            <a:r>
              <a:rPr lang="fr-FR" sz="1400" dirty="0">
                <a:solidFill>
                  <a:srgbClr val="000000"/>
                </a:solidFill>
                <a:latin typeface="Calibri" pitchFamily="34" charset="0"/>
                <a:cs typeface="Calibri" pitchFamily="34" charset="0"/>
              </a:rPr>
              <a:t>"B2C E-commerce Index 2016, UNCTAD"</a:t>
            </a:r>
          </a:p>
        </p:txBody>
      </p:sp>
      <p:sp>
        <p:nvSpPr>
          <p:cNvPr id="15" name="Rounded Rectangle 36"/>
          <p:cNvSpPr/>
          <p:nvPr/>
        </p:nvSpPr>
        <p:spPr>
          <a:xfrm>
            <a:off x="468313" y="1196975"/>
            <a:ext cx="2225675" cy="742950"/>
          </a:xfrm>
          <a:custGeom>
            <a:avLst/>
            <a:gdLst>
              <a:gd name="connsiteX0" fmla="*/ 0 w 2234565"/>
              <a:gd name="connsiteY0" fmla="*/ 85729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8" fmla="*/ 0 w 2234565"/>
              <a:gd name="connsiteY8" fmla="*/ 85729 h 742950"/>
              <a:gd name="connsiteX0" fmla="*/ 0 w 2234565"/>
              <a:gd name="connsiteY0" fmla="*/ 657221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0" fmla="*/ 0 w 2148836"/>
              <a:gd name="connsiteY0" fmla="*/ 742950 h 742950"/>
              <a:gd name="connsiteX1" fmla="*/ 0 w 2148836"/>
              <a:gd name="connsiteY1" fmla="*/ 0 h 742950"/>
              <a:gd name="connsiteX2" fmla="*/ 2063107 w 2148836"/>
              <a:gd name="connsiteY2" fmla="*/ 0 h 742950"/>
              <a:gd name="connsiteX3" fmla="*/ 2148836 w 2148836"/>
              <a:gd name="connsiteY3" fmla="*/ 85729 h 742950"/>
              <a:gd name="connsiteX4" fmla="*/ 2148836 w 2148836"/>
              <a:gd name="connsiteY4" fmla="*/ 657221 h 742950"/>
              <a:gd name="connsiteX5" fmla="*/ 2063107 w 2148836"/>
              <a:gd name="connsiteY5" fmla="*/ 742950 h 742950"/>
              <a:gd name="connsiteX6" fmla="*/ 0 w 2148836"/>
              <a:gd name="connsiteY6" fmla="*/ 742950 h 742950"/>
              <a:gd name="connsiteX0" fmla="*/ 153034 w 2301870"/>
              <a:gd name="connsiteY0" fmla="*/ 742950 h 743057"/>
              <a:gd name="connsiteX1" fmla="*/ 153034 w 2301870"/>
              <a:gd name="connsiteY1" fmla="*/ 0 h 743057"/>
              <a:gd name="connsiteX2" fmla="*/ 2216141 w 2301870"/>
              <a:gd name="connsiteY2" fmla="*/ 0 h 743057"/>
              <a:gd name="connsiteX3" fmla="*/ 2301870 w 2301870"/>
              <a:gd name="connsiteY3" fmla="*/ 85729 h 743057"/>
              <a:gd name="connsiteX4" fmla="*/ 2301870 w 2301870"/>
              <a:gd name="connsiteY4" fmla="*/ 657221 h 743057"/>
              <a:gd name="connsiteX5" fmla="*/ 2216141 w 2301870"/>
              <a:gd name="connsiteY5" fmla="*/ 742950 h 743057"/>
              <a:gd name="connsiteX6" fmla="*/ 153034 w 2301870"/>
              <a:gd name="connsiteY6" fmla="*/ 742950 h 743057"/>
              <a:gd name="connsiteX0" fmla="*/ 46 w 2148882"/>
              <a:gd name="connsiteY0" fmla="*/ 742950 h 743039"/>
              <a:gd name="connsiteX1" fmla="*/ 46 w 2148882"/>
              <a:gd name="connsiteY1" fmla="*/ 0 h 743039"/>
              <a:gd name="connsiteX2" fmla="*/ 2063153 w 2148882"/>
              <a:gd name="connsiteY2" fmla="*/ 0 h 743039"/>
              <a:gd name="connsiteX3" fmla="*/ 2148882 w 2148882"/>
              <a:gd name="connsiteY3" fmla="*/ 85729 h 743039"/>
              <a:gd name="connsiteX4" fmla="*/ 2148882 w 2148882"/>
              <a:gd name="connsiteY4" fmla="*/ 657221 h 743039"/>
              <a:gd name="connsiteX5" fmla="*/ 2063153 w 2148882"/>
              <a:gd name="connsiteY5" fmla="*/ 742950 h 743039"/>
              <a:gd name="connsiteX6" fmla="*/ 46 w 2148882"/>
              <a:gd name="connsiteY6" fmla="*/ 742950 h 743039"/>
              <a:gd name="connsiteX0" fmla="*/ 4875 w 2153711"/>
              <a:gd name="connsiteY0" fmla="*/ 742972 h 743061"/>
              <a:gd name="connsiteX1" fmla="*/ 4875 w 2153711"/>
              <a:gd name="connsiteY1" fmla="*/ 22 h 743061"/>
              <a:gd name="connsiteX2" fmla="*/ 2067982 w 2153711"/>
              <a:gd name="connsiteY2" fmla="*/ 22 h 743061"/>
              <a:gd name="connsiteX3" fmla="*/ 2153711 w 2153711"/>
              <a:gd name="connsiteY3" fmla="*/ 85751 h 743061"/>
              <a:gd name="connsiteX4" fmla="*/ 2153711 w 2153711"/>
              <a:gd name="connsiteY4" fmla="*/ 657243 h 743061"/>
              <a:gd name="connsiteX5" fmla="*/ 2067982 w 2153711"/>
              <a:gd name="connsiteY5" fmla="*/ 742972 h 743061"/>
              <a:gd name="connsiteX6" fmla="*/ 4875 w 2153711"/>
              <a:gd name="connsiteY6" fmla="*/ 742972 h 743061"/>
              <a:gd name="connsiteX0" fmla="*/ 232 w 2149068"/>
              <a:gd name="connsiteY0" fmla="*/ 742950 h 743039"/>
              <a:gd name="connsiteX1" fmla="*/ 232 w 2149068"/>
              <a:gd name="connsiteY1" fmla="*/ 0 h 743039"/>
              <a:gd name="connsiteX2" fmla="*/ 2063339 w 2149068"/>
              <a:gd name="connsiteY2" fmla="*/ 0 h 743039"/>
              <a:gd name="connsiteX3" fmla="*/ 2149068 w 2149068"/>
              <a:gd name="connsiteY3" fmla="*/ 85729 h 743039"/>
              <a:gd name="connsiteX4" fmla="*/ 2149068 w 2149068"/>
              <a:gd name="connsiteY4" fmla="*/ 657221 h 743039"/>
              <a:gd name="connsiteX5" fmla="*/ 2063339 w 2149068"/>
              <a:gd name="connsiteY5" fmla="*/ 742950 h 743039"/>
              <a:gd name="connsiteX6" fmla="*/ 232 w 2149068"/>
              <a:gd name="connsiteY6" fmla="*/ 742950 h 74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9068" h="743039">
                <a:moveTo>
                  <a:pt x="232" y="742950"/>
                </a:moveTo>
                <a:cubicBezTo>
                  <a:pt x="-719" y="752475"/>
                  <a:pt x="1661" y="2381"/>
                  <a:pt x="232" y="0"/>
                </a:cubicBezTo>
                <a:lnTo>
                  <a:pt x="2063339" y="0"/>
                </a:lnTo>
                <a:cubicBezTo>
                  <a:pt x="2110686" y="0"/>
                  <a:pt x="2149068" y="38382"/>
                  <a:pt x="2149068" y="85729"/>
                </a:cubicBezTo>
                <a:lnTo>
                  <a:pt x="2149068" y="657221"/>
                </a:lnTo>
                <a:cubicBezTo>
                  <a:pt x="2149068" y="704568"/>
                  <a:pt x="2110686" y="742950"/>
                  <a:pt x="2063339" y="742950"/>
                </a:cubicBezTo>
                <a:lnTo>
                  <a:pt x="232" y="742950"/>
                </a:lnTo>
                <a:close/>
              </a:path>
            </a:pathLst>
          </a:cu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spAutoFit/>
          </a:bodyPr>
          <a:lstStyle/>
          <a:p>
            <a:pPr algn="ctr" eaLnBrk="1" fontAlgn="auto" hangingPunct="1">
              <a:spcBef>
                <a:spcPts val="0"/>
              </a:spcBef>
              <a:spcAft>
                <a:spcPts val="0"/>
              </a:spcAft>
              <a:defRPr/>
            </a:pPr>
            <a:endParaRPr lang="en-US" sz="1400" kern="0" dirty="0" err="1">
              <a:solidFill>
                <a:srgbClr val="313131"/>
              </a:solidFill>
              <a:latin typeface="Arial"/>
            </a:endParaRPr>
          </a:p>
        </p:txBody>
      </p:sp>
      <p:sp>
        <p:nvSpPr>
          <p:cNvPr id="16" name="Rounded Rectangle 36"/>
          <p:cNvSpPr/>
          <p:nvPr/>
        </p:nvSpPr>
        <p:spPr>
          <a:xfrm>
            <a:off x="3135313" y="1196975"/>
            <a:ext cx="3092450" cy="742950"/>
          </a:xfrm>
          <a:custGeom>
            <a:avLst/>
            <a:gdLst>
              <a:gd name="connsiteX0" fmla="*/ 0 w 2234565"/>
              <a:gd name="connsiteY0" fmla="*/ 85729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8" fmla="*/ 0 w 2234565"/>
              <a:gd name="connsiteY8" fmla="*/ 85729 h 742950"/>
              <a:gd name="connsiteX0" fmla="*/ 0 w 2234565"/>
              <a:gd name="connsiteY0" fmla="*/ 657221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0" fmla="*/ 0 w 2148836"/>
              <a:gd name="connsiteY0" fmla="*/ 742950 h 742950"/>
              <a:gd name="connsiteX1" fmla="*/ 0 w 2148836"/>
              <a:gd name="connsiteY1" fmla="*/ 0 h 742950"/>
              <a:gd name="connsiteX2" fmla="*/ 2063107 w 2148836"/>
              <a:gd name="connsiteY2" fmla="*/ 0 h 742950"/>
              <a:gd name="connsiteX3" fmla="*/ 2148836 w 2148836"/>
              <a:gd name="connsiteY3" fmla="*/ 85729 h 742950"/>
              <a:gd name="connsiteX4" fmla="*/ 2148836 w 2148836"/>
              <a:gd name="connsiteY4" fmla="*/ 657221 h 742950"/>
              <a:gd name="connsiteX5" fmla="*/ 2063107 w 2148836"/>
              <a:gd name="connsiteY5" fmla="*/ 742950 h 742950"/>
              <a:gd name="connsiteX6" fmla="*/ 0 w 2148836"/>
              <a:gd name="connsiteY6" fmla="*/ 742950 h 742950"/>
              <a:gd name="connsiteX0" fmla="*/ 153034 w 2301870"/>
              <a:gd name="connsiteY0" fmla="*/ 742950 h 743057"/>
              <a:gd name="connsiteX1" fmla="*/ 153034 w 2301870"/>
              <a:gd name="connsiteY1" fmla="*/ 0 h 743057"/>
              <a:gd name="connsiteX2" fmla="*/ 2216141 w 2301870"/>
              <a:gd name="connsiteY2" fmla="*/ 0 h 743057"/>
              <a:gd name="connsiteX3" fmla="*/ 2301870 w 2301870"/>
              <a:gd name="connsiteY3" fmla="*/ 85729 h 743057"/>
              <a:gd name="connsiteX4" fmla="*/ 2301870 w 2301870"/>
              <a:gd name="connsiteY4" fmla="*/ 657221 h 743057"/>
              <a:gd name="connsiteX5" fmla="*/ 2216141 w 2301870"/>
              <a:gd name="connsiteY5" fmla="*/ 742950 h 743057"/>
              <a:gd name="connsiteX6" fmla="*/ 153034 w 2301870"/>
              <a:gd name="connsiteY6" fmla="*/ 742950 h 743057"/>
              <a:gd name="connsiteX0" fmla="*/ 46 w 2148882"/>
              <a:gd name="connsiteY0" fmla="*/ 742950 h 743039"/>
              <a:gd name="connsiteX1" fmla="*/ 46 w 2148882"/>
              <a:gd name="connsiteY1" fmla="*/ 0 h 743039"/>
              <a:gd name="connsiteX2" fmla="*/ 2063153 w 2148882"/>
              <a:gd name="connsiteY2" fmla="*/ 0 h 743039"/>
              <a:gd name="connsiteX3" fmla="*/ 2148882 w 2148882"/>
              <a:gd name="connsiteY3" fmla="*/ 85729 h 743039"/>
              <a:gd name="connsiteX4" fmla="*/ 2148882 w 2148882"/>
              <a:gd name="connsiteY4" fmla="*/ 657221 h 743039"/>
              <a:gd name="connsiteX5" fmla="*/ 2063153 w 2148882"/>
              <a:gd name="connsiteY5" fmla="*/ 742950 h 743039"/>
              <a:gd name="connsiteX6" fmla="*/ 46 w 2148882"/>
              <a:gd name="connsiteY6" fmla="*/ 742950 h 743039"/>
              <a:gd name="connsiteX0" fmla="*/ 4875 w 2153711"/>
              <a:gd name="connsiteY0" fmla="*/ 742972 h 743061"/>
              <a:gd name="connsiteX1" fmla="*/ 4875 w 2153711"/>
              <a:gd name="connsiteY1" fmla="*/ 22 h 743061"/>
              <a:gd name="connsiteX2" fmla="*/ 2067982 w 2153711"/>
              <a:gd name="connsiteY2" fmla="*/ 22 h 743061"/>
              <a:gd name="connsiteX3" fmla="*/ 2153711 w 2153711"/>
              <a:gd name="connsiteY3" fmla="*/ 85751 h 743061"/>
              <a:gd name="connsiteX4" fmla="*/ 2153711 w 2153711"/>
              <a:gd name="connsiteY4" fmla="*/ 657243 h 743061"/>
              <a:gd name="connsiteX5" fmla="*/ 2067982 w 2153711"/>
              <a:gd name="connsiteY5" fmla="*/ 742972 h 743061"/>
              <a:gd name="connsiteX6" fmla="*/ 4875 w 2153711"/>
              <a:gd name="connsiteY6" fmla="*/ 742972 h 743061"/>
              <a:gd name="connsiteX0" fmla="*/ 232 w 2149068"/>
              <a:gd name="connsiteY0" fmla="*/ 742950 h 743039"/>
              <a:gd name="connsiteX1" fmla="*/ 232 w 2149068"/>
              <a:gd name="connsiteY1" fmla="*/ 0 h 743039"/>
              <a:gd name="connsiteX2" fmla="*/ 2063339 w 2149068"/>
              <a:gd name="connsiteY2" fmla="*/ 0 h 743039"/>
              <a:gd name="connsiteX3" fmla="*/ 2149068 w 2149068"/>
              <a:gd name="connsiteY3" fmla="*/ 85729 h 743039"/>
              <a:gd name="connsiteX4" fmla="*/ 2149068 w 2149068"/>
              <a:gd name="connsiteY4" fmla="*/ 657221 h 743039"/>
              <a:gd name="connsiteX5" fmla="*/ 2063339 w 2149068"/>
              <a:gd name="connsiteY5" fmla="*/ 742950 h 743039"/>
              <a:gd name="connsiteX6" fmla="*/ 232 w 2149068"/>
              <a:gd name="connsiteY6" fmla="*/ 742950 h 74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9068" h="743039">
                <a:moveTo>
                  <a:pt x="232" y="742950"/>
                </a:moveTo>
                <a:cubicBezTo>
                  <a:pt x="-719" y="752475"/>
                  <a:pt x="1661" y="2381"/>
                  <a:pt x="232" y="0"/>
                </a:cubicBezTo>
                <a:lnTo>
                  <a:pt x="2063339" y="0"/>
                </a:lnTo>
                <a:cubicBezTo>
                  <a:pt x="2110686" y="0"/>
                  <a:pt x="2149068" y="38382"/>
                  <a:pt x="2149068" y="85729"/>
                </a:cubicBezTo>
                <a:lnTo>
                  <a:pt x="2149068" y="657221"/>
                </a:lnTo>
                <a:cubicBezTo>
                  <a:pt x="2149068" y="704568"/>
                  <a:pt x="2110686" y="742950"/>
                  <a:pt x="2063339" y="742950"/>
                </a:cubicBezTo>
                <a:lnTo>
                  <a:pt x="232" y="742950"/>
                </a:lnTo>
                <a:close/>
              </a:path>
            </a:pathLst>
          </a:custGeom>
          <a:ln/>
        </p:spPr>
        <p:style>
          <a:lnRef idx="1">
            <a:schemeClr val="accent4"/>
          </a:lnRef>
          <a:fillRef idx="3">
            <a:schemeClr val="accent4"/>
          </a:fillRef>
          <a:effectRef idx="2">
            <a:schemeClr val="accent4"/>
          </a:effectRef>
          <a:fontRef idx="minor">
            <a:schemeClr val="lt1"/>
          </a:fontRef>
        </p:style>
        <p:txBody>
          <a:bodyPr lIns="36000" tIns="36000" rIns="36000" bIns="36000" anchor="ctr">
            <a:spAutoFit/>
          </a:bodyPr>
          <a:lstStyle/>
          <a:p>
            <a:pPr algn="ctr" eaLnBrk="1" fontAlgn="auto" hangingPunct="1">
              <a:spcBef>
                <a:spcPts val="0"/>
              </a:spcBef>
              <a:spcAft>
                <a:spcPts val="0"/>
              </a:spcAft>
              <a:defRPr/>
            </a:pPr>
            <a:endParaRPr lang="en-US" sz="1400" kern="0" dirty="0" err="1">
              <a:solidFill>
                <a:srgbClr val="313131"/>
              </a:solidFill>
              <a:latin typeface="Arial"/>
            </a:endParaRPr>
          </a:p>
        </p:txBody>
      </p:sp>
      <p:sp>
        <p:nvSpPr>
          <p:cNvPr id="17" name="Rounded Rectangle 36"/>
          <p:cNvSpPr/>
          <p:nvPr/>
        </p:nvSpPr>
        <p:spPr>
          <a:xfrm>
            <a:off x="6530975" y="1196975"/>
            <a:ext cx="2227263" cy="742950"/>
          </a:xfrm>
          <a:custGeom>
            <a:avLst/>
            <a:gdLst>
              <a:gd name="connsiteX0" fmla="*/ 0 w 2234565"/>
              <a:gd name="connsiteY0" fmla="*/ 85729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8" fmla="*/ 0 w 2234565"/>
              <a:gd name="connsiteY8" fmla="*/ 85729 h 742950"/>
              <a:gd name="connsiteX0" fmla="*/ 0 w 2234565"/>
              <a:gd name="connsiteY0" fmla="*/ 657221 h 742950"/>
              <a:gd name="connsiteX1" fmla="*/ 85729 w 2234565"/>
              <a:gd name="connsiteY1" fmla="*/ 0 h 742950"/>
              <a:gd name="connsiteX2" fmla="*/ 2148836 w 2234565"/>
              <a:gd name="connsiteY2" fmla="*/ 0 h 742950"/>
              <a:gd name="connsiteX3" fmla="*/ 2234565 w 2234565"/>
              <a:gd name="connsiteY3" fmla="*/ 85729 h 742950"/>
              <a:gd name="connsiteX4" fmla="*/ 2234565 w 2234565"/>
              <a:gd name="connsiteY4" fmla="*/ 657221 h 742950"/>
              <a:gd name="connsiteX5" fmla="*/ 2148836 w 2234565"/>
              <a:gd name="connsiteY5" fmla="*/ 742950 h 742950"/>
              <a:gd name="connsiteX6" fmla="*/ 85729 w 2234565"/>
              <a:gd name="connsiteY6" fmla="*/ 742950 h 742950"/>
              <a:gd name="connsiteX7" fmla="*/ 0 w 2234565"/>
              <a:gd name="connsiteY7" fmla="*/ 657221 h 742950"/>
              <a:gd name="connsiteX0" fmla="*/ 0 w 2148836"/>
              <a:gd name="connsiteY0" fmla="*/ 742950 h 742950"/>
              <a:gd name="connsiteX1" fmla="*/ 0 w 2148836"/>
              <a:gd name="connsiteY1" fmla="*/ 0 h 742950"/>
              <a:gd name="connsiteX2" fmla="*/ 2063107 w 2148836"/>
              <a:gd name="connsiteY2" fmla="*/ 0 h 742950"/>
              <a:gd name="connsiteX3" fmla="*/ 2148836 w 2148836"/>
              <a:gd name="connsiteY3" fmla="*/ 85729 h 742950"/>
              <a:gd name="connsiteX4" fmla="*/ 2148836 w 2148836"/>
              <a:gd name="connsiteY4" fmla="*/ 657221 h 742950"/>
              <a:gd name="connsiteX5" fmla="*/ 2063107 w 2148836"/>
              <a:gd name="connsiteY5" fmla="*/ 742950 h 742950"/>
              <a:gd name="connsiteX6" fmla="*/ 0 w 2148836"/>
              <a:gd name="connsiteY6" fmla="*/ 742950 h 742950"/>
              <a:gd name="connsiteX0" fmla="*/ 153034 w 2301870"/>
              <a:gd name="connsiteY0" fmla="*/ 742950 h 743057"/>
              <a:gd name="connsiteX1" fmla="*/ 153034 w 2301870"/>
              <a:gd name="connsiteY1" fmla="*/ 0 h 743057"/>
              <a:gd name="connsiteX2" fmla="*/ 2216141 w 2301870"/>
              <a:gd name="connsiteY2" fmla="*/ 0 h 743057"/>
              <a:gd name="connsiteX3" fmla="*/ 2301870 w 2301870"/>
              <a:gd name="connsiteY3" fmla="*/ 85729 h 743057"/>
              <a:gd name="connsiteX4" fmla="*/ 2301870 w 2301870"/>
              <a:gd name="connsiteY4" fmla="*/ 657221 h 743057"/>
              <a:gd name="connsiteX5" fmla="*/ 2216141 w 2301870"/>
              <a:gd name="connsiteY5" fmla="*/ 742950 h 743057"/>
              <a:gd name="connsiteX6" fmla="*/ 153034 w 2301870"/>
              <a:gd name="connsiteY6" fmla="*/ 742950 h 743057"/>
              <a:gd name="connsiteX0" fmla="*/ 46 w 2148882"/>
              <a:gd name="connsiteY0" fmla="*/ 742950 h 743039"/>
              <a:gd name="connsiteX1" fmla="*/ 46 w 2148882"/>
              <a:gd name="connsiteY1" fmla="*/ 0 h 743039"/>
              <a:gd name="connsiteX2" fmla="*/ 2063153 w 2148882"/>
              <a:gd name="connsiteY2" fmla="*/ 0 h 743039"/>
              <a:gd name="connsiteX3" fmla="*/ 2148882 w 2148882"/>
              <a:gd name="connsiteY3" fmla="*/ 85729 h 743039"/>
              <a:gd name="connsiteX4" fmla="*/ 2148882 w 2148882"/>
              <a:gd name="connsiteY4" fmla="*/ 657221 h 743039"/>
              <a:gd name="connsiteX5" fmla="*/ 2063153 w 2148882"/>
              <a:gd name="connsiteY5" fmla="*/ 742950 h 743039"/>
              <a:gd name="connsiteX6" fmla="*/ 46 w 2148882"/>
              <a:gd name="connsiteY6" fmla="*/ 742950 h 743039"/>
              <a:gd name="connsiteX0" fmla="*/ 4875 w 2153711"/>
              <a:gd name="connsiteY0" fmla="*/ 742972 h 743061"/>
              <a:gd name="connsiteX1" fmla="*/ 4875 w 2153711"/>
              <a:gd name="connsiteY1" fmla="*/ 22 h 743061"/>
              <a:gd name="connsiteX2" fmla="*/ 2067982 w 2153711"/>
              <a:gd name="connsiteY2" fmla="*/ 22 h 743061"/>
              <a:gd name="connsiteX3" fmla="*/ 2153711 w 2153711"/>
              <a:gd name="connsiteY3" fmla="*/ 85751 h 743061"/>
              <a:gd name="connsiteX4" fmla="*/ 2153711 w 2153711"/>
              <a:gd name="connsiteY4" fmla="*/ 657243 h 743061"/>
              <a:gd name="connsiteX5" fmla="*/ 2067982 w 2153711"/>
              <a:gd name="connsiteY5" fmla="*/ 742972 h 743061"/>
              <a:gd name="connsiteX6" fmla="*/ 4875 w 2153711"/>
              <a:gd name="connsiteY6" fmla="*/ 742972 h 743061"/>
              <a:gd name="connsiteX0" fmla="*/ 232 w 2149068"/>
              <a:gd name="connsiteY0" fmla="*/ 742950 h 743039"/>
              <a:gd name="connsiteX1" fmla="*/ 232 w 2149068"/>
              <a:gd name="connsiteY1" fmla="*/ 0 h 743039"/>
              <a:gd name="connsiteX2" fmla="*/ 2063339 w 2149068"/>
              <a:gd name="connsiteY2" fmla="*/ 0 h 743039"/>
              <a:gd name="connsiteX3" fmla="*/ 2149068 w 2149068"/>
              <a:gd name="connsiteY3" fmla="*/ 85729 h 743039"/>
              <a:gd name="connsiteX4" fmla="*/ 2149068 w 2149068"/>
              <a:gd name="connsiteY4" fmla="*/ 657221 h 743039"/>
              <a:gd name="connsiteX5" fmla="*/ 2063339 w 2149068"/>
              <a:gd name="connsiteY5" fmla="*/ 742950 h 743039"/>
              <a:gd name="connsiteX6" fmla="*/ 232 w 2149068"/>
              <a:gd name="connsiteY6" fmla="*/ 742950 h 74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9068" h="743039">
                <a:moveTo>
                  <a:pt x="232" y="742950"/>
                </a:moveTo>
                <a:cubicBezTo>
                  <a:pt x="-719" y="752475"/>
                  <a:pt x="1661" y="2381"/>
                  <a:pt x="232" y="0"/>
                </a:cubicBezTo>
                <a:lnTo>
                  <a:pt x="2063339" y="0"/>
                </a:lnTo>
                <a:cubicBezTo>
                  <a:pt x="2110686" y="0"/>
                  <a:pt x="2149068" y="38382"/>
                  <a:pt x="2149068" y="85729"/>
                </a:cubicBezTo>
                <a:lnTo>
                  <a:pt x="2149068" y="657221"/>
                </a:lnTo>
                <a:cubicBezTo>
                  <a:pt x="2149068" y="704568"/>
                  <a:pt x="2110686" y="742950"/>
                  <a:pt x="2063339" y="742950"/>
                </a:cubicBezTo>
                <a:lnTo>
                  <a:pt x="232" y="742950"/>
                </a:lnTo>
                <a:close/>
              </a:path>
            </a:pathLst>
          </a:custGeom>
          <a:solidFill>
            <a:srgbClr val="81BC00"/>
          </a:solidFill>
          <a:ln w="12700" cap="flat" cmpd="sng" algn="ctr">
            <a:noFill/>
            <a:prstDash val="solid"/>
          </a:ln>
          <a:effectLst/>
        </p:spPr>
        <p:txBody>
          <a:bodyPr lIns="36000" tIns="36000" rIns="36000" bIns="36000" anchor="ctr">
            <a:spAutoFit/>
          </a:bodyPr>
          <a:lstStyle/>
          <a:p>
            <a:pPr algn="ctr" eaLnBrk="1" fontAlgn="auto" hangingPunct="1">
              <a:spcBef>
                <a:spcPts val="0"/>
              </a:spcBef>
              <a:spcAft>
                <a:spcPts val="0"/>
              </a:spcAft>
              <a:defRPr/>
            </a:pPr>
            <a:endParaRPr lang="en-US" sz="1400" kern="0" dirty="0" err="1">
              <a:solidFill>
                <a:srgbClr val="313131"/>
              </a:solidFill>
              <a:latin typeface="Arial"/>
              <a:cs typeface="+mn-cs"/>
            </a:endParaRPr>
          </a:p>
        </p:txBody>
      </p:sp>
      <p:sp>
        <p:nvSpPr>
          <p:cNvPr id="180236" name="Rectangle 17"/>
          <p:cNvSpPr>
            <a:spLocks noChangeArrowheads="1"/>
          </p:cNvSpPr>
          <p:nvPr/>
        </p:nvSpPr>
        <p:spPr bwMode="auto">
          <a:xfrm>
            <a:off x="568325" y="1423988"/>
            <a:ext cx="21224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r>
              <a:rPr lang="fr-FR" altLang="fr-FR" sz="1800" b="1">
                <a:solidFill>
                  <a:schemeClr val="tx2"/>
                </a:solidFill>
              </a:rPr>
              <a:t>1 800 Companies</a:t>
            </a:r>
            <a:endParaRPr lang="fr-FR" altLang="fr-FR" sz="1800">
              <a:solidFill>
                <a:schemeClr val="tx2"/>
              </a:solidFill>
              <a:latin typeface="Arial" panose="020B0604020202020204" pitchFamily="34" charset="0"/>
            </a:endParaRPr>
          </a:p>
        </p:txBody>
      </p:sp>
      <p:sp>
        <p:nvSpPr>
          <p:cNvPr id="180237" name="Rectangle 18"/>
          <p:cNvSpPr>
            <a:spLocks noChangeArrowheads="1"/>
          </p:cNvSpPr>
          <p:nvPr/>
        </p:nvSpPr>
        <p:spPr bwMode="auto">
          <a:xfrm>
            <a:off x="3071813" y="1423988"/>
            <a:ext cx="32194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r>
              <a:rPr lang="fr-FR" altLang="fr-FR" sz="1800" b="1">
                <a:solidFill>
                  <a:schemeClr val="tx2"/>
                </a:solidFill>
              </a:rPr>
              <a:t>+300 Foreign Companies</a:t>
            </a:r>
            <a:endParaRPr lang="fr-FR" altLang="fr-FR" sz="1800">
              <a:solidFill>
                <a:schemeClr val="tx2"/>
              </a:solidFill>
              <a:latin typeface="Arial" panose="020B0604020202020204" pitchFamily="34" charset="0"/>
            </a:endParaRPr>
          </a:p>
        </p:txBody>
      </p:sp>
      <p:sp>
        <p:nvSpPr>
          <p:cNvPr id="180238" name="Rectangle 19"/>
          <p:cNvSpPr>
            <a:spLocks noChangeArrowheads="1"/>
          </p:cNvSpPr>
          <p:nvPr/>
        </p:nvSpPr>
        <p:spPr bwMode="auto">
          <a:xfrm>
            <a:off x="6548438" y="1423988"/>
            <a:ext cx="16113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r>
              <a:rPr lang="fr-FR" altLang="fr-FR" sz="1800" b="1">
                <a:solidFill>
                  <a:schemeClr val="tx2"/>
                </a:solidFill>
              </a:rPr>
              <a:t>+34 000 Jobs</a:t>
            </a:r>
            <a:endParaRPr lang="fr-FR" altLang="fr-FR" sz="1800">
              <a:solidFill>
                <a:schemeClr val="tx2"/>
              </a:solidFill>
              <a:latin typeface="Arial" panose="020B0604020202020204" pitchFamily="34" charset="0"/>
            </a:endParaRPr>
          </a:p>
        </p:txBody>
      </p:sp>
    </p:spTree>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3068638" y="1873250"/>
            <a:ext cx="3025775" cy="1360488"/>
          </a:xfrm>
          <a:prstGeom prst="rect">
            <a:avLst/>
          </a:prstGeom>
          <a:solidFill>
            <a:schemeClr val="accent6">
              <a:lumMod val="50000"/>
            </a:schemeClr>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eaLnBrk="1" hangingPunct="1">
              <a:buClr>
                <a:srgbClr val="99CCFF"/>
              </a:buClr>
              <a:buSzPct val="105000"/>
              <a:defRPr/>
            </a:pPr>
            <a:endParaRPr lang="fr-FR" altLang="zh-CN" sz="1400" b="1" dirty="0">
              <a:solidFill>
                <a:srgbClr val="FFFFFF"/>
              </a:solidFill>
              <a:cs typeface="Arial" pitchFamily="34" charset="0"/>
            </a:endParaRPr>
          </a:p>
          <a:p>
            <a:pPr indent="-95250" algn="ctr" eaLnBrk="1" hangingPunct="1">
              <a:buClr>
                <a:srgbClr val="99CCFF"/>
              </a:buClr>
              <a:buSzPct val="105000"/>
              <a:defRPr/>
            </a:pPr>
            <a:r>
              <a:rPr lang="en-US" sz="3600" b="1" dirty="0">
                <a:solidFill>
                  <a:srgbClr val="FF33CC"/>
                </a:solidFill>
                <a:latin typeface="Calibri" pitchFamily="34" charset="0"/>
                <a:cs typeface="Calibri" pitchFamily="34" charset="0"/>
              </a:rPr>
              <a:t>3</a:t>
            </a:r>
            <a:r>
              <a:rPr lang="en-US" sz="2800" b="1" baseline="30000" dirty="0">
                <a:solidFill>
                  <a:srgbClr val="FF33CC"/>
                </a:solidFill>
                <a:latin typeface="Calibri" pitchFamily="34" charset="0"/>
                <a:cs typeface="Calibri" pitchFamily="34" charset="0"/>
              </a:rPr>
              <a:t>rd</a:t>
            </a:r>
            <a:r>
              <a:rPr lang="en-US" b="1" dirty="0">
                <a:solidFill>
                  <a:srgbClr val="FFFFFF"/>
                </a:solidFill>
                <a:latin typeface="Calibri" pitchFamily="34" charset="0"/>
                <a:cs typeface="Calibri" pitchFamily="34" charset="0"/>
              </a:rPr>
              <a:t> worldwide producer of olive oil for the 2015-2016 harvest season</a:t>
            </a:r>
            <a:endParaRPr lang="fr-FR" altLang="zh-CN" b="1" dirty="0">
              <a:solidFill>
                <a:srgbClr val="FFFFFF"/>
              </a:solidFill>
              <a:latin typeface="Calibri" pitchFamily="34" charset="0"/>
              <a:cs typeface="Calibri" pitchFamily="34" charset="0"/>
            </a:endParaRPr>
          </a:p>
        </p:txBody>
      </p:sp>
      <p:sp>
        <p:nvSpPr>
          <p:cNvPr id="24" name="Rectangle 23"/>
          <p:cNvSpPr/>
          <p:nvPr/>
        </p:nvSpPr>
        <p:spPr>
          <a:xfrm>
            <a:off x="117475" y="1873250"/>
            <a:ext cx="2751138" cy="1360488"/>
          </a:xfrm>
          <a:prstGeom prst="rect">
            <a:avLst/>
          </a:prstGeom>
          <a:solidFill>
            <a:schemeClr val="accent6">
              <a:lumMod val="50000"/>
            </a:schemeClr>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eaLnBrk="1" hangingPunct="1">
              <a:buClr>
                <a:srgbClr val="99CCFF"/>
              </a:buClr>
              <a:buSzPct val="105000"/>
              <a:defRPr/>
            </a:pPr>
            <a:endParaRPr lang="fr-FR" altLang="zh-CN" b="1" dirty="0">
              <a:solidFill>
                <a:srgbClr val="FFFFFF"/>
              </a:solidFill>
              <a:latin typeface="Calibri" pitchFamily="34" charset="0"/>
              <a:cs typeface="Calibri" pitchFamily="34" charset="0"/>
            </a:endParaRPr>
          </a:p>
          <a:p>
            <a:pPr indent="-95250" algn="ctr" eaLnBrk="1" hangingPunct="1">
              <a:buClr>
                <a:srgbClr val="99CCFF"/>
              </a:buClr>
              <a:buSzPct val="105000"/>
              <a:defRPr/>
            </a:pPr>
            <a:r>
              <a:rPr lang="fr-FR" altLang="zh-CN" sz="3600" b="1" dirty="0">
                <a:solidFill>
                  <a:srgbClr val="FF33CC"/>
                </a:solidFill>
                <a:latin typeface="Calibri" pitchFamily="34" charset="0"/>
                <a:cs typeface="Calibri" pitchFamily="34" charset="0"/>
              </a:rPr>
              <a:t>1</a:t>
            </a:r>
            <a:r>
              <a:rPr lang="fr-FR" altLang="zh-CN" sz="2800" b="1" baseline="30000" dirty="0">
                <a:solidFill>
                  <a:srgbClr val="FF33CC"/>
                </a:solidFill>
                <a:latin typeface="Calibri" pitchFamily="34" charset="0"/>
                <a:cs typeface="Calibri" pitchFamily="34" charset="0"/>
              </a:rPr>
              <a:t>st</a:t>
            </a:r>
            <a:r>
              <a:rPr lang="fr-FR" altLang="zh-CN" b="1" dirty="0">
                <a:solidFill>
                  <a:srgbClr val="FFFFFF"/>
                </a:solidFill>
                <a:latin typeface="Calibri" pitchFamily="34" charset="0"/>
                <a:cs typeface="Calibri" pitchFamily="34" charset="0"/>
              </a:rPr>
              <a:t> </a:t>
            </a:r>
            <a:r>
              <a:rPr lang="fr-FR" altLang="zh-CN" b="1" dirty="0" err="1">
                <a:solidFill>
                  <a:srgbClr val="FFFFFF"/>
                </a:solidFill>
                <a:latin typeface="Calibri" pitchFamily="34" charset="0"/>
                <a:cs typeface="Calibri" pitchFamily="34" charset="0"/>
              </a:rPr>
              <a:t>worldwide</a:t>
            </a:r>
            <a:r>
              <a:rPr lang="fr-FR" altLang="zh-CN" b="1" dirty="0">
                <a:solidFill>
                  <a:srgbClr val="FFFFFF"/>
                </a:solidFill>
                <a:latin typeface="Calibri" pitchFamily="34" charset="0"/>
                <a:cs typeface="Calibri" pitchFamily="34" charset="0"/>
              </a:rPr>
              <a:t> exporter </a:t>
            </a:r>
          </a:p>
          <a:p>
            <a:pPr indent="-95250" algn="ctr" eaLnBrk="1" hangingPunct="1">
              <a:buClr>
                <a:srgbClr val="99CCFF"/>
              </a:buClr>
              <a:buSzPct val="105000"/>
              <a:defRPr/>
            </a:pPr>
            <a:r>
              <a:rPr lang="fr-FR" altLang="zh-CN" b="1" dirty="0">
                <a:solidFill>
                  <a:srgbClr val="FFFFFF"/>
                </a:solidFill>
                <a:latin typeface="Calibri" pitchFamily="34" charset="0"/>
                <a:cs typeface="Calibri" pitchFamily="34" charset="0"/>
              </a:rPr>
              <a:t>of DATES</a:t>
            </a:r>
            <a:endParaRPr lang="fr-FR" altLang="zh-CN" sz="1600" b="1" dirty="0">
              <a:solidFill>
                <a:srgbClr val="FFFFFF"/>
              </a:solidFill>
              <a:latin typeface="Calibri" pitchFamily="34" charset="0"/>
              <a:cs typeface="Calibri" pitchFamily="34" charset="0"/>
            </a:endParaRPr>
          </a:p>
        </p:txBody>
      </p:sp>
      <p:pic>
        <p:nvPicPr>
          <p:cNvPr id="182276" name="Picture 2" descr="C:\Users\Raja TOUIL\Desktop\image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8188" y="3313113"/>
            <a:ext cx="10160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277" name="Picture 3" descr="C:\Users\Raja TOUIL\Desktop\téléchargement (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33863" y="3294063"/>
            <a:ext cx="820737"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278" name="Picture 5" descr="https://encrypted-tbn0.gstatic.com/images?q=tbn:ANd9GcTZ2S0t1lmK3zHilyYoz_WF4bU-Iavuo0j2W7minZ4mWDL4-LUeOXZ1FLAV"/>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08850" y="3354388"/>
            <a:ext cx="1014413"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279" name="Picture 2"/>
          <p:cNvPicPr>
            <a:picLocks noChangeAspect="1" noChangeArrowheads="1"/>
          </p:cNvPicPr>
          <p:nvPr/>
        </p:nvPicPr>
        <p:blipFill>
          <a:blip r:embed="rId6">
            <a:extLst>
              <a:ext uri="{28A0092B-C50C-407E-A947-70E740481C1C}">
                <a14:useLocalDpi xmlns:a14="http://schemas.microsoft.com/office/drawing/2010/main" val="0"/>
              </a:ext>
            </a:extLst>
          </a:blip>
          <a:srcRect l="17816" t="29713" r="23276" b="9377"/>
          <a:stretch>
            <a:fillRect/>
          </a:stretch>
        </p:blipFill>
        <p:spPr bwMode="auto">
          <a:xfrm>
            <a:off x="2025650" y="4149725"/>
            <a:ext cx="4706938" cy="270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31"/>
          <p:cNvSpPr/>
          <p:nvPr/>
        </p:nvSpPr>
        <p:spPr>
          <a:xfrm>
            <a:off x="6272213" y="1873250"/>
            <a:ext cx="2806700" cy="1360488"/>
          </a:xfrm>
          <a:prstGeom prst="rect">
            <a:avLst/>
          </a:prstGeom>
          <a:solidFill>
            <a:schemeClr val="accent6">
              <a:lumMod val="50000"/>
            </a:schemeClr>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eaLnBrk="1" hangingPunct="1">
              <a:buClr>
                <a:srgbClr val="99CCFF"/>
              </a:buClr>
              <a:buSzPct val="105000"/>
              <a:defRPr/>
            </a:pPr>
            <a:r>
              <a:rPr lang="en-US" sz="3600" b="1" dirty="0">
                <a:solidFill>
                  <a:srgbClr val="FF33CC"/>
                </a:solidFill>
                <a:latin typeface="Calibri" pitchFamily="34" charset="0"/>
                <a:cs typeface="Calibri" pitchFamily="34" charset="0"/>
              </a:rPr>
              <a:t>2</a:t>
            </a:r>
            <a:r>
              <a:rPr lang="en-US" sz="2800" b="1" baseline="30000" dirty="0">
                <a:solidFill>
                  <a:srgbClr val="FF33CC"/>
                </a:solidFill>
                <a:latin typeface="Calibri" pitchFamily="34" charset="0"/>
                <a:cs typeface="Calibri" pitchFamily="34" charset="0"/>
              </a:rPr>
              <a:t>nd</a:t>
            </a:r>
            <a:r>
              <a:rPr lang="en-US" b="1" dirty="0">
                <a:solidFill>
                  <a:srgbClr val="FFFFFF"/>
                </a:solidFill>
                <a:latin typeface="Calibri" pitchFamily="34" charset="0"/>
                <a:cs typeface="Calibri" pitchFamily="34" charset="0"/>
              </a:rPr>
              <a:t> exporter of organic produce in Africa</a:t>
            </a:r>
            <a:endParaRPr lang="fr-FR" altLang="zh-CN" b="1" dirty="0">
              <a:solidFill>
                <a:srgbClr val="FFFFFF"/>
              </a:solidFill>
              <a:latin typeface="Calibri" pitchFamily="34" charset="0"/>
              <a:cs typeface="Calibri" pitchFamily="34" charset="0"/>
            </a:endParaRPr>
          </a:p>
        </p:txBody>
      </p:sp>
      <p:sp>
        <p:nvSpPr>
          <p:cNvPr id="182281" name="Rectangle 1"/>
          <p:cNvSpPr>
            <a:spLocks noChangeArrowheads="1"/>
          </p:cNvSpPr>
          <p:nvPr/>
        </p:nvSpPr>
        <p:spPr bwMode="auto">
          <a:xfrm>
            <a:off x="2270125" y="1176338"/>
            <a:ext cx="4824413" cy="40005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defTabSz="801688">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defTabSz="801688">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en-US" altLang="en-US" sz="2000" b="1">
                <a:solidFill>
                  <a:schemeClr val="tx2"/>
                </a:solidFill>
                <a:latin typeface="Calibri" panose="020F0502020204030204" pitchFamily="34" charset="0"/>
                <a:ea typeface="MS PGothic" panose="020B0600070205080204" pitchFamily="34" charset="-128"/>
                <a:cs typeface="Calibri" panose="020F0502020204030204" pitchFamily="34" charset="0"/>
              </a:rPr>
              <a:t>In terms of international trade, Tunisia is:</a:t>
            </a:r>
            <a:endParaRPr lang="en-US" altLang="en-US" sz="1200">
              <a:solidFill>
                <a:schemeClr val="tx2"/>
              </a:solidFill>
              <a:latin typeface="Calibri" panose="020F0502020204030204" pitchFamily="34" charset="0"/>
              <a:ea typeface="MS PGothic" panose="020B0600070205080204" pitchFamily="34" charset="-128"/>
              <a:cs typeface="Calibri" panose="020F0502020204030204" pitchFamily="34" charset="0"/>
            </a:endParaRPr>
          </a:p>
        </p:txBody>
      </p:sp>
      <p:sp>
        <p:nvSpPr>
          <p:cNvPr id="106507" name="Text Box 5"/>
          <p:cNvSpPr txBox="1">
            <a:spLocks noChangeArrowheads="1"/>
          </p:cNvSpPr>
          <p:nvPr/>
        </p:nvSpPr>
        <p:spPr bwMode="auto">
          <a:xfrm>
            <a:off x="179388" y="223838"/>
            <a:ext cx="7129462"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lstStyle>
            <a:lvl1pPr defTabSz="801688">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defTabSz="801688">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defTabSz="801688">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spcBef>
                <a:spcPct val="0"/>
              </a:spcBef>
              <a:buFontTx/>
              <a:buNone/>
              <a:defRPr/>
            </a:pPr>
            <a:r>
              <a:rPr lang="fr-FR" altLang="en-US" sz="2400" b="1" dirty="0" err="1" smtClean="0">
                <a:solidFill>
                  <a:schemeClr val="tx2"/>
                </a:solidFill>
                <a:effectLst>
                  <a:outerShdw blurRad="38100" dist="38100" dir="2700000" algn="tl">
                    <a:srgbClr val="000000">
                      <a:alpha val="43137"/>
                    </a:srgbClr>
                  </a:outerShdw>
                </a:effectLst>
                <a:latin typeface="MS Reference Sans Serif" panose="020B0604030504040204" pitchFamily="34" charset="0"/>
              </a:rPr>
              <a:t>Agrifood</a:t>
            </a: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 </a:t>
            </a:r>
            <a:r>
              <a:rPr lang="fr-FR" altLang="en-US" sz="2400" b="1" dirty="0" err="1" smtClean="0">
                <a:solidFill>
                  <a:schemeClr val="tx2"/>
                </a:solidFill>
                <a:effectLst>
                  <a:outerShdw blurRad="38100" dist="38100" dir="2700000" algn="tl">
                    <a:srgbClr val="000000">
                      <a:alpha val="43137"/>
                    </a:srgbClr>
                  </a:outerShdw>
                </a:effectLst>
                <a:latin typeface="MS Reference Sans Serif" panose="020B0604030504040204" pitchFamily="34" charset="0"/>
              </a:rPr>
              <a:t>Industry</a:t>
            </a:r>
            <a:endPar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endParaRPr>
          </a:p>
        </p:txBody>
      </p:sp>
      <p:sp>
        <p:nvSpPr>
          <p:cNvPr id="12" name="Isosceles Triangle 23"/>
          <p:cNvSpPr/>
          <p:nvPr/>
        </p:nvSpPr>
        <p:spPr>
          <a:xfrm flipV="1">
            <a:off x="2146300" y="1611313"/>
            <a:ext cx="5072063" cy="161925"/>
          </a:xfrm>
          <a:prstGeom prst="triangle">
            <a:avLst>
              <a:gd name="adj" fmla="val 50419"/>
            </a:avLst>
          </a:prstGeom>
          <a:solidFill>
            <a:srgbClr val="D8D8D8"/>
          </a:solidFill>
          <a:ln w="19050" cap="flat" cmpd="sng" algn="ctr">
            <a:noFill/>
            <a:prstDash val="dash"/>
          </a:ln>
          <a:effectLst/>
        </p:spPr>
        <p:txBody>
          <a:bodyPr anchor="ctr"/>
          <a:lstStyle/>
          <a:p>
            <a:pPr algn="ctr" eaLnBrk="1" fontAlgn="auto" hangingPunct="1">
              <a:spcBef>
                <a:spcPts val="0"/>
              </a:spcBef>
              <a:spcAft>
                <a:spcPts val="0"/>
              </a:spcAft>
              <a:defRPr/>
            </a:pPr>
            <a:endParaRPr lang="en-US" sz="1200" kern="0">
              <a:solidFill>
                <a:srgbClr val="000000"/>
              </a:solidFill>
            </a:endParaRPr>
          </a:p>
        </p:txBody>
      </p:sp>
    </p:spTree>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2400" y="2633663"/>
            <a:ext cx="3168650" cy="2955925"/>
          </a:xfrm>
          <a:prstGeom prst="rect">
            <a:avLst/>
          </a:prstGeom>
          <a:noFill/>
          <a:ln>
            <a:noFill/>
          </a:ln>
        </p:spPr>
        <p:style>
          <a:lnRef idx="2">
            <a:schemeClr val="accent2"/>
          </a:lnRef>
          <a:fillRef idx="1">
            <a:schemeClr val="lt1"/>
          </a:fillRef>
          <a:effectRef idx="0">
            <a:schemeClr val="accent2"/>
          </a:effectRef>
          <a:fontRef idx="minor">
            <a:schemeClr val="dk1"/>
          </a:fontRef>
        </p:style>
        <p:txBody>
          <a:bodyPr lIns="72000" tIns="72000" rIns="72000" bIns="72000"/>
          <a:lstStyle/>
          <a:p>
            <a:pPr eaLnBrk="1" hangingPunct="1">
              <a:buClr>
                <a:srgbClr val="FFC000"/>
              </a:buClr>
              <a:defRPr/>
            </a:pPr>
            <a:endParaRPr lang="en-US" sz="1000" b="1">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a:p>
            <a:pPr eaLnBrk="1" hangingPunct="1">
              <a:buClr>
                <a:srgbClr val="FFC000"/>
              </a:buClr>
              <a:buFont typeface="Wingdings" pitchFamily="2" charset="2"/>
              <a:buChar char="§"/>
              <a:defRPr/>
            </a:pPr>
            <a:endParaRPr lang="en-US" sz="1000">
              <a:solidFill>
                <a:srgbClr val="981150"/>
              </a:solidFill>
              <a:latin typeface="EYInterstate"/>
              <a:cs typeface="Arial" pitchFamily="34" charset="0"/>
            </a:endParaRPr>
          </a:p>
        </p:txBody>
      </p:sp>
      <p:sp>
        <p:nvSpPr>
          <p:cNvPr id="208" name="Rectangle 207"/>
          <p:cNvSpPr/>
          <p:nvPr/>
        </p:nvSpPr>
        <p:spPr>
          <a:xfrm>
            <a:off x="2339975" y="2546350"/>
            <a:ext cx="1736725" cy="522288"/>
          </a:xfrm>
          <a:prstGeom prst="rect">
            <a:avLst/>
          </a:prstGeom>
          <a:solidFill>
            <a:srgbClr val="C41B6D">
              <a:alpha val="27843"/>
            </a:srgb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94345" tIns="62897" rIns="31447" bIns="62897" anchor="ctr"/>
          <a:lstStyle/>
          <a:p>
            <a:pPr indent="-84138" algn="ctr" defTabSz="909638" eaLnBrk="1" hangingPunct="1">
              <a:lnSpc>
                <a:spcPct val="95000"/>
              </a:lnSpc>
              <a:buSzPct val="60000"/>
              <a:defRPr/>
            </a:pPr>
            <a:r>
              <a:rPr lang="fr-FR" sz="1200" b="1" dirty="0">
                <a:solidFill>
                  <a:srgbClr val="000000"/>
                </a:solidFill>
                <a:cs typeface="Arial" pitchFamily="34" charset="0"/>
              </a:rPr>
              <a:t>1 860 </a:t>
            </a:r>
          </a:p>
          <a:p>
            <a:pPr indent="-84138" algn="ctr" defTabSz="909638" eaLnBrk="1" hangingPunct="1">
              <a:lnSpc>
                <a:spcPct val="95000"/>
              </a:lnSpc>
              <a:buSzPct val="60000"/>
              <a:defRPr/>
            </a:pPr>
            <a:r>
              <a:rPr lang="fr-FR" sz="1200" b="1" dirty="0" err="1">
                <a:solidFill>
                  <a:srgbClr val="000000"/>
                </a:solidFill>
                <a:cs typeface="Arial" pitchFamily="34" charset="0"/>
              </a:rPr>
              <a:t>including</a:t>
            </a:r>
            <a:r>
              <a:rPr lang="fr-FR" sz="1200" b="1" dirty="0">
                <a:solidFill>
                  <a:srgbClr val="000000"/>
                </a:solidFill>
                <a:cs typeface="Arial" pitchFamily="34" charset="0"/>
              </a:rPr>
              <a:t> 1 614 foreign </a:t>
            </a:r>
          </a:p>
        </p:txBody>
      </p:sp>
      <p:sp>
        <p:nvSpPr>
          <p:cNvPr id="209" name="Rectangle 208"/>
          <p:cNvSpPr/>
          <p:nvPr/>
        </p:nvSpPr>
        <p:spPr>
          <a:xfrm>
            <a:off x="6408738" y="2525713"/>
            <a:ext cx="1570037" cy="542925"/>
          </a:xfrm>
          <a:prstGeom prst="rect">
            <a:avLst/>
          </a:prstGeom>
          <a:solidFill>
            <a:srgbClr val="C41B6D">
              <a:alpha val="27843"/>
            </a:srgbClr>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94345" tIns="62897" rIns="31447" bIns="62897" anchor="ctr"/>
          <a:lstStyle/>
          <a:p>
            <a:pPr indent="-84138" algn="ctr" defTabSz="911178" eaLnBrk="1" fontAlgn="auto" hangingPunct="1">
              <a:lnSpc>
                <a:spcPct val="95000"/>
              </a:lnSpc>
              <a:spcBef>
                <a:spcPts val="0"/>
              </a:spcBef>
              <a:spcAft>
                <a:spcPct val="60000"/>
              </a:spcAft>
              <a:buSzPct val="60000"/>
              <a:defRPr/>
            </a:pPr>
            <a:r>
              <a:rPr lang="fr-FR" sz="1400" b="1" dirty="0">
                <a:solidFill>
                  <a:srgbClr val="000000"/>
                </a:solidFill>
              </a:rPr>
              <a:t>158 555</a:t>
            </a:r>
          </a:p>
        </p:txBody>
      </p:sp>
      <p:sp>
        <p:nvSpPr>
          <p:cNvPr id="277" name="Pentagon 416"/>
          <p:cNvSpPr/>
          <p:nvPr/>
        </p:nvSpPr>
        <p:spPr>
          <a:xfrm>
            <a:off x="755576" y="2525684"/>
            <a:ext cx="1368152" cy="543276"/>
          </a:xfrm>
          <a:prstGeom prst="homePlate">
            <a:avLst/>
          </a:prstGeom>
          <a:gradFill flip="none" rotWithShape="1">
            <a:gsLst>
              <a:gs pos="0">
                <a:srgbClr val="C41B6D">
                  <a:tint val="66000"/>
                  <a:satMod val="160000"/>
                </a:srgbClr>
              </a:gs>
              <a:gs pos="50000">
                <a:srgbClr val="C41B6D">
                  <a:tint val="44500"/>
                  <a:satMod val="160000"/>
                </a:srgbClr>
              </a:gs>
              <a:gs pos="100000">
                <a:srgbClr val="C41B6D">
                  <a:tint val="23500"/>
                  <a:satMod val="160000"/>
                </a:srgbClr>
              </a:gs>
            </a:gsLst>
            <a:path path="circle">
              <a:fillToRect l="100000" t="100000"/>
            </a:path>
            <a:tileRect r="-100000" b="-100000"/>
          </a:gra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94345" tIns="62897" rIns="31447" bIns="62897" anchor="ctr"/>
          <a:lstStyle/>
          <a:p>
            <a:pPr algn="ctr" defTabSz="909638" eaLnBrk="1" hangingPunct="1">
              <a:defRPr/>
            </a:pPr>
            <a:endParaRPr lang="fr-FR" sz="1050" b="1" dirty="0">
              <a:solidFill>
                <a:srgbClr val="000000"/>
              </a:solidFill>
              <a:cs typeface="Arial" pitchFamily="34" charset="0"/>
            </a:endParaRPr>
          </a:p>
          <a:p>
            <a:pPr algn="ctr" defTabSz="909638" eaLnBrk="1" hangingPunct="1">
              <a:defRPr/>
            </a:pPr>
            <a:r>
              <a:rPr lang="fr-FR" sz="1050" b="1" dirty="0">
                <a:solidFill>
                  <a:srgbClr val="000000"/>
                </a:solidFill>
                <a:cs typeface="Arial" pitchFamily="34" charset="0"/>
              </a:rPr>
              <a:t>ENTREPRENEURIAL </a:t>
            </a:r>
          </a:p>
          <a:p>
            <a:pPr algn="ctr" defTabSz="909638" eaLnBrk="1" hangingPunct="1">
              <a:defRPr/>
            </a:pPr>
            <a:r>
              <a:rPr lang="fr-FR" sz="1050" b="1" dirty="0">
                <a:solidFill>
                  <a:srgbClr val="000000"/>
                </a:solidFill>
                <a:cs typeface="Arial" pitchFamily="34" charset="0"/>
              </a:rPr>
              <a:t>FABRIC </a:t>
            </a:r>
          </a:p>
          <a:p>
            <a:pPr algn="ctr" defTabSz="909638" eaLnBrk="1" hangingPunct="1">
              <a:lnSpc>
                <a:spcPct val="95000"/>
              </a:lnSpc>
              <a:spcAft>
                <a:spcPct val="60000"/>
              </a:spcAft>
              <a:buSzPct val="60000"/>
              <a:defRPr/>
            </a:pPr>
            <a:endParaRPr lang="fr-FR" sz="1050" b="1" dirty="0">
              <a:solidFill>
                <a:srgbClr val="000000"/>
              </a:solidFill>
              <a:cs typeface="Arial" pitchFamily="34" charset="0"/>
            </a:endParaRPr>
          </a:p>
        </p:txBody>
      </p:sp>
      <p:sp>
        <p:nvSpPr>
          <p:cNvPr id="278" name="Pentagon 417"/>
          <p:cNvSpPr/>
          <p:nvPr/>
        </p:nvSpPr>
        <p:spPr>
          <a:xfrm>
            <a:off x="5009791" y="2523064"/>
            <a:ext cx="1362603" cy="499246"/>
          </a:xfrm>
          <a:prstGeom prst="homePlate">
            <a:avLst/>
          </a:prstGeom>
          <a:gradFill flip="none" rotWithShape="1">
            <a:gsLst>
              <a:gs pos="0">
                <a:srgbClr val="C41B6D">
                  <a:tint val="66000"/>
                  <a:satMod val="160000"/>
                </a:srgbClr>
              </a:gs>
              <a:gs pos="50000">
                <a:srgbClr val="C41B6D">
                  <a:tint val="44500"/>
                  <a:satMod val="160000"/>
                </a:srgbClr>
              </a:gs>
              <a:gs pos="100000">
                <a:srgbClr val="C41B6D">
                  <a:tint val="23500"/>
                  <a:satMod val="160000"/>
                </a:srgbClr>
              </a:gs>
            </a:gsLst>
            <a:path path="circle">
              <a:fillToRect l="100000" t="100000"/>
            </a:path>
            <a:tileRect r="-100000" b="-100000"/>
          </a:gra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94345" tIns="62897" rIns="31447" bIns="62897" anchor="ctr"/>
          <a:lstStyle/>
          <a:p>
            <a:pPr indent="-84138" algn="ctr" defTabSz="909638" eaLnBrk="1" hangingPunct="1">
              <a:lnSpc>
                <a:spcPct val="95000"/>
              </a:lnSpc>
              <a:spcAft>
                <a:spcPct val="60000"/>
              </a:spcAft>
              <a:buSzPct val="60000"/>
              <a:defRPr/>
            </a:pPr>
            <a:r>
              <a:rPr lang="fr-FR" sz="1400" b="1" dirty="0">
                <a:solidFill>
                  <a:srgbClr val="000000"/>
                </a:solidFill>
                <a:cs typeface="Arial" pitchFamily="34" charset="0"/>
              </a:rPr>
              <a:t>JOBS</a:t>
            </a:r>
          </a:p>
        </p:txBody>
      </p:sp>
      <p:sp>
        <p:nvSpPr>
          <p:cNvPr id="142" name="Rectangle 141"/>
          <p:cNvSpPr/>
          <p:nvPr/>
        </p:nvSpPr>
        <p:spPr>
          <a:xfrm>
            <a:off x="401638" y="3573463"/>
            <a:ext cx="3636962" cy="431800"/>
          </a:xfrm>
          <a:prstGeom prst="rect">
            <a:avLst/>
          </a:prstGeom>
          <a:solidFill>
            <a:srgbClr val="002060"/>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lnSpc>
                <a:spcPct val="90000"/>
              </a:lnSpc>
              <a:spcBef>
                <a:spcPct val="50000"/>
              </a:spcBef>
              <a:buClr>
                <a:srgbClr val="99CCFF"/>
              </a:buClr>
              <a:buSzPct val="105000"/>
              <a:defRPr/>
            </a:pPr>
            <a:r>
              <a:rPr lang="fr-FR" sz="1600" b="1" dirty="0">
                <a:solidFill>
                  <a:srgbClr val="FFFFFF"/>
                </a:solidFill>
                <a:latin typeface="Century Gothic" pitchFamily="34" charset="0"/>
                <a:cs typeface="Arial" pitchFamily="34" charset="0"/>
              </a:rPr>
              <a:t>Confirmed know how </a:t>
            </a:r>
          </a:p>
        </p:txBody>
      </p:sp>
      <p:sp>
        <p:nvSpPr>
          <p:cNvPr id="143" name="Rectangle 142"/>
          <p:cNvSpPr/>
          <p:nvPr/>
        </p:nvSpPr>
        <p:spPr>
          <a:xfrm>
            <a:off x="395288" y="4689475"/>
            <a:ext cx="3636962" cy="431800"/>
          </a:xfrm>
          <a:prstGeom prst="rect">
            <a:avLst/>
          </a:prstGeom>
          <a:solidFill>
            <a:srgbClr val="002060"/>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lnSpc>
                <a:spcPct val="90000"/>
              </a:lnSpc>
              <a:spcBef>
                <a:spcPct val="50000"/>
              </a:spcBef>
              <a:buClr>
                <a:srgbClr val="99CCFF"/>
              </a:buClr>
              <a:buSzPct val="105000"/>
              <a:defRPr/>
            </a:pPr>
            <a:r>
              <a:rPr lang="fr-FR" sz="1600" b="1" dirty="0">
                <a:solidFill>
                  <a:srgbClr val="FFFFFF"/>
                </a:solidFill>
                <a:latin typeface="Century Gothic" pitchFamily="34" charset="0"/>
                <a:cs typeface="Arial" pitchFamily="34" charset="0"/>
              </a:rPr>
              <a:t>Available trained manpower</a:t>
            </a:r>
          </a:p>
        </p:txBody>
      </p:sp>
      <p:sp>
        <p:nvSpPr>
          <p:cNvPr id="144" name="Rectangle 143"/>
          <p:cNvSpPr/>
          <p:nvPr/>
        </p:nvSpPr>
        <p:spPr>
          <a:xfrm>
            <a:off x="401638" y="4110038"/>
            <a:ext cx="3636962" cy="431800"/>
          </a:xfrm>
          <a:prstGeom prst="rect">
            <a:avLst/>
          </a:prstGeom>
          <a:solidFill>
            <a:srgbClr val="002060"/>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lnSpc>
                <a:spcPct val="90000"/>
              </a:lnSpc>
              <a:spcBef>
                <a:spcPct val="50000"/>
              </a:spcBef>
              <a:buClr>
                <a:srgbClr val="99CCFF"/>
              </a:buClr>
              <a:buSzPct val="105000"/>
              <a:defRPr/>
            </a:pPr>
            <a:r>
              <a:rPr lang="fr-FR" sz="1600" b="1" dirty="0">
                <a:solidFill>
                  <a:srgbClr val="FFFFFF"/>
                </a:solidFill>
                <a:latin typeface="Century Gothic" pitchFamily="34" charset="0"/>
                <a:cs typeface="Arial" pitchFamily="34" charset="0"/>
              </a:rPr>
              <a:t>Just in time delivery  </a:t>
            </a:r>
          </a:p>
        </p:txBody>
      </p:sp>
      <p:sp>
        <p:nvSpPr>
          <p:cNvPr id="154" name="Rectangle 153"/>
          <p:cNvSpPr/>
          <p:nvPr/>
        </p:nvSpPr>
        <p:spPr>
          <a:xfrm>
            <a:off x="401638" y="5280025"/>
            <a:ext cx="3636962" cy="431800"/>
          </a:xfrm>
          <a:prstGeom prst="rect">
            <a:avLst/>
          </a:prstGeom>
          <a:solidFill>
            <a:srgbClr val="002060"/>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lnSpc>
                <a:spcPct val="90000"/>
              </a:lnSpc>
              <a:spcBef>
                <a:spcPct val="50000"/>
              </a:spcBef>
              <a:buClr>
                <a:srgbClr val="99CCFF"/>
              </a:buClr>
              <a:buSzPct val="105000"/>
              <a:defRPr/>
            </a:pPr>
            <a:r>
              <a:rPr lang="fr-FR" sz="1600" b="1" dirty="0" err="1">
                <a:solidFill>
                  <a:srgbClr val="FFFFFF"/>
                </a:solidFill>
                <a:latin typeface="Century Gothic" pitchFamily="34" charset="0"/>
                <a:cs typeface="Arial" pitchFamily="34" charset="0"/>
              </a:rPr>
              <a:t>Presence</a:t>
            </a:r>
            <a:r>
              <a:rPr lang="fr-FR" sz="1600" b="1" dirty="0">
                <a:solidFill>
                  <a:srgbClr val="FFFFFF"/>
                </a:solidFill>
                <a:latin typeface="Century Gothic" pitchFamily="34" charset="0"/>
                <a:cs typeface="Arial" pitchFamily="34" charset="0"/>
              </a:rPr>
              <a:t> of major clients </a:t>
            </a:r>
            <a:endParaRPr lang="en-US" sz="1600" b="1" dirty="0">
              <a:solidFill>
                <a:srgbClr val="FFFFFF"/>
              </a:solidFill>
              <a:latin typeface="Century Gothic" pitchFamily="34" charset="0"/>
              <a:cs typeface="Arial" pitchFamily="34" charset="0"/>
            </a:endParaRPr>
          </a:p>
        </p:txBody>
      </p:sp>
      <p:sp>
        <p:nvSpPr>
          <p:cNvPr id="28" name="Rectangle 27"/>
          <p:cNvSpPr/>
          <p:nvPr/>
        </p:nvSpPr>
        <p:spPr>
          <a:xfrm>
            <a:off x="2957513" y="1277938"/>
            <a:ext cx="3070225" cy="865187"/>
          </a:xfrm>
          <a:prstGeom prst="rect">
            <a:avLst/>
          </a:prstGeom>
          <a:solidFill>
            <a:schemeClr val="accent3">
              <a:lumMod val="75000"/>
            </a:schemeClr>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buClr>
                <a:srgbClr val="99CCFF"/>
              </a:buClr>
              <a:buSzPct val="105000"/>
              <a:defRPr/>
            </a:pPr>
            <a:endParaRPr lang="fr-FR" altLang="zh-CN" sz="1600" b="1" dirty="0">
              <a:solidFill>
                <a:srgbClr val="FFFFFF"/>
              </a:solidFill>
              <a:latin typeface="Century Gothic" pitchFamily="34" charset="0"/>
              <a:cs typeface="Arial" pitchFamily="34" charset="0"/>
            </a:endParaRPr>
          </a:p>
          <a:p>
            <a:pPr indent="-95250" algn="ctr">
              <a:buClr>
                <a:srgbClr val="99CCFF"/>
              </a:buClr>
              <a:buSzPct val="105000"/>
              <a:defRPr/>
            </a:pPr>
            <a:r>
              <a:rPr lang="fr-FR" altLang="zh-CN" sz="2400" b="1" dirty="0">
                <a:solidFill>
                  <a:srgbClr val="FFFFFF"/>
                </a:solidFill>
                <a:latin typeface="Century Gothic" pitchFamily="34" charset="0"/>
                <a:cs typeface="Arial" pitchFamily="34" charset="0"/>
              </a:rPr>
              <a:t>8</a:t>
            </a:r>
            <a:r>
              <a:rPr lang="fr-FR" altLang="zh-CN" sz="1600" b="1" baseline="30000" dirty="0">
                <a:solidFill>
                  <a:srgbClr val="FFFFFF"/>
                </a:solidFill>
                <a:latin typeface="Century Gothic" pitchFamily="34" charset="0"/>
                <a:cs typeface="Arial" pitchFamily="34" charset="0"/>
              </a:rPr>
              <a:t>th</a:t>
            </a:r>
            <a:r>
              <a:rPr lang="fr-FR" altLang="zh-CN" sz="1600" b="1" dirty="0">
                <a:solidFill>
                  <a:srgbClr val="FFFFFF"/>
                </a:solidFill>
                <a:latin typeface="Century Gothic" pitchFamily="34" charset="0"/>
                <a:cs typeface="Arial" pitchFamily="34" charset="0"/>
              </a:rPr>
              <a:t> supplier of Europe</a:t>
            </a:r>
            <a:br>
              <a:rPr lang="fr-FR" altLang="zh-CN" sz="1600" b="1" dirty="0">
                <a:solidFill>
                  <a:srgbClr val="FFFFFF"/>
                </a:solidFill>
                <a:latin typeface="Century Gothic" pitchFamily="34" charset="0"/>
                <a:cs typeface="Arial" pitchFamily="34" charset="0"/>
              </a:rPr>
            </a:br>
            <a:endParaRPr lang="fr-FR" altLang="zh-CN" sz="1600" b="1" dirty="0">
              <a:solidFill>
                <a:srgbClr val="FFFFFF"/>
              </a:solidFill>
              <a:latin typeface="Century Gothic" pitchFamily="34" charset="0"/>
              <a:cs typeface="Arial" pitchFamily="34" charset="0"/>
            </a:endParaRPr>
          </a:p>
        </p:txBody>
      </p:sp>
      <p:sp>
        <p:nvSpPr>
          <p:cNvPr id="26" name="Rectangle 25"/>
          <p:cNvSpPr/>
          <p:nvPr/>
        </p:nvSpPr>
        <p:spPr>
          <a:xfrm>
            <a:off x="250825" y="260350"/>
            <a:ext cx="5329238" cy="461963"/>
          </a:xfrm>
          <a:prstGeom prst="rect">
            <a:avLst/>
          </a:prstGeom>
        </p:spPr>
        <p:txBody>
          <a:bodyPr>
            <a:spAutoFit/>
          </a:bodyPr>
          <a:lstStyle/>
          <a:p>
            <a:pPr defTabSz="909638" eaLnBrk="1" hangingPunct="1">
              <a:defRPr/>
            </a:pPr>
            <a:r>
              <a:rPr lang="fr-FR" sz="2400" b="1" dirty="0">
                <a:solidFill>
                  <a:schemeClr val="tx2"/>
                </a:solidFill>
                <a:effectLst>
                  <a:outerShdw blurRad="38100" dist="38100" dir="2700000" algn="tl">
                    <a:srgbClr val="000000">
                      <a:alpha val="43137"/>
                    </a:srgbClr>
                  </a:outerShdw>
                </a:effectLst>
                <a:latin typeface="MS Reference Sans Serif" panose="020B0604030504040204" pitchFamily="34" charset="0"/>
              </a:rPr>
              <a:t>TEXTILES AND CLOTHING </a:t>
            </a:r>
          </a:p>
        </p:txBody>
      </p:sp>
      <p:sp>
        <p:nvSpPr>
          <p:cNvPr id="31" name="Rectangle 30"/>
          <p:cNvSpPr/>
          <p:nvPr/>
        </p:nvSpPr>
        <p:spPr>
          <a:xfrm>
            <a:off x="6218238" y="1311275"/>
            <a:ext cx="2879725" cy="865188"/>
          </a:xfrm>
          <a:prstGeom prst="rect">
            <a:avLst/>
          </a:prstGeom>
          <a:solidFill>
            <a:schemeClr val="accent3">
              <a:lumMod val="75000"/>
            </a:schemeClr>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buClr>
                <a:srgbClr val="99CCFF"/>
              </a:buClr>
              <a:buSzPct val="105000"/>
              <a:defRPr/>
            </a:pPr>
            <a:endParaRPr lang="fr-FR" altLang="zh-CN" sz="1400" b="1" dirty="0">
              <a:solidFill>
                <a:srgbClr val="FFFFFF"/>
              </a:solidFill>
              <a:latin typeface="Century Gothic" pitchFamily="34" charset="0"/>
              <a:cs typeface="Arial" pitchFamily="34" charset="0"/>
            </a:endParaRPr>
          </a:p>
          <a:p>
            <a:pPr indent="-95250" algn="ctr">
              <a:buClr>
                <a:srgbClr val="99CCFF"/>
              </a:buClr>
              <a:buSzPct val="105000"/>
              <a:defRPr/>
            </a:pPr>
            <a:r>
              <a:rPr lang="fr-FR" altLang="zh-CN" sz="1600" b="1" dirty="0">
                <a:solidFill>
                  <a:srgbClr val="FFFFFF"/>
                </a:solidFill>
                <a:latin typeface="Century Gothic" pitchFamily="34" charset="0"/>
                <a:cs typeface="Arial" pitchFamily="34" charset="0"/>
              </a:rPr>
              <a:t> </a:t>
            </a:r>
            <a:r>
              <a:rPr lang="fr-FR" altLang="zh-CN" sz="2400" b="1" dirty="0">
                <a:solidFill>
                  <a:srgbClr val="FFFFFF"/>
                </a:solidFill>
                <a:latin typeface="Century Gothic" pitchFamily="34" charset="0"/>
                <a:cs typeface="Arial" pitchFamily="34" charset="0"/>
              </a:rPr>
              <a:t>8</a:t>
            </a:r>
            <a:r>
              <a:rPr lang="fr-FR" altLang="zh-CN" sz="1600" b="1" baseline="30000" dirty="0">
                <a:solidFill>
                  <a:srgbClr val="FFFFFF"/>
                </a:solidFill>
                <a:latin typeface="Century Gothic" pitchFamily="34" charset="0"/>
                <a:cs typeface="Arial" pitchFamily="34" charset="0"/>
              </a:rPr>
              <a:t>th </a:t>
            </a:r>
            <a:r>
              <a:rPr lang="fr-FR" altLang="zh-CN" sz="1600" b="1" dirty="0">
                <a:solidFill>
                  <a:srgbClr val="FFFFFF"/>
                </a:solidFill>
                <a:latin typeface="Century Gothic" pitchFamily="34" charset="0"/>
                <a:cs typeface="Arial" pitchFamily="34" charset="0"/>
              </a:rPr>
              <a:t> </a:t>
            </a:r>
            <a:r>
              <a:rPr lang="fr-FR" altLang="zh-CN" sz="1600" b="1" dirty="0" err="1">
                <a:solidFill>
                  <a:srgbClr val="FFFFFF"/>
                </a:solidFill>
                <a:latin typeface="Century Gothic" pitchFamily="34" charset="0"/>
                <a:cs typeface="Arial" pitchFamily="34" charset="0"/>
              </a:rPr>
              <a:t>largest</a:t>
            </a:r>
            <a:r>
              <a:rPr lang="fr-FR" altLang="zh-CN" sz="1600" b="1" dirty="0">
                <a:solidFill>
                  <a:srgbClr val="FFFFFF"/>
                </a:solidFill>
                <a:latin typeface="Century Gothic" pitchFamily="34" charset="0"/>
                <a:cs typeface="Arial" pitchFamily="34" charset="0"/>
              </a:rPr>
              <a:t> </a:t>
            </a:r>
            <a:r>
              <a:rPr lang="fr-FR" altLang="zh-CN" b="1" dirty="0">
                <a:solidFill>
                  <a:srgbClr val="FFFFFF"/>
                </a:solidFill>
                <a:latin typeface="Century Gothic" pitchFamily="34" charset="0"/>
                <a:cs typeface="Arial" pitchFamily="34" charset="0"/>
              </a:rPr>
              <a:t>supplier to the world</a:t>
            </a:r>
            <a:endParaRPr lang="fr-FR" altLang="zh-CN" sz="1600" b="1" dirty="0">
              <a:solidFill>
                <a:srgbClr val="FFFFFF"/>
              </a:solidFill>
              <a:latin typeface="Century Gothic" pitchFamily="34" charset="0"/>
              <a:cs typeface="Arial" pitchFamily="34" charset="0"/>
            </a:endParaRPr>
          </a:p>
          <a:p>
            <a:pPr indent="-95250" algn="ctr">
              <a:buClr>
                <a:srgbClr val="99CCFF"/>
              </a:buClr>
              <a:buSzPct val="105000"/>
              <a:defRPr/>
            </a:pPr>
            <a:endParaRPr lang="fr-FR" altLang="zh-CN" sz="1400" b="1" dirty="0">
              <a:solidFill>
                <a:srgbClr val="FFFFFF"/>
              </a:solidFill>
              <a:latin typeface="Century Gothic" pitchFamily="34" charset="0"/>
              <a:cs typeface="Arial" pitchFamily="34" charset="0"/>
            </a:endParaRPr>
          </a:p>
        </p:txBody>
      </p:sp>
      <p:sp>
        <p:nvSpPr>
          <p:cNvPr id="32" name="Rectangle 31"/>
          <p:cNvSpPr/>
          <p:nvPr/>
        </p:nvSpPr>
        <p:spPr>
          <a:xfrm>
            <a:off x="188913" y="1277938"/>
            <a:ext cx="2614612" cy="865187"/>
          </a:xfrm>
          <a:prstGeom prst="rect">
            <a:avLst/>
          </a:prstGeom>
          <a:solidFill>
            <a:schemeClr val="accent3">
              <a:lumMod val="75000"/>
            </a:schemeClr>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6000" tIns="36000" rIns="36000" bIns="36000" anchor="ctr"/>
          <a:lstStyle/>
          <a:p>
            <a:pPr indent="-95250" algn="ctr">
              <a:buClr>
                <a:srgbClr val="99CCFF"/>
              </a:buClr>
              <a:buSzPct val="105000"/>
              <a:defRPr/>
            </a:pPr>
            <a:r>
              <a:rPr lang="fr-FR" altLang="zh-CN" sz="2000" b="1" dirty="0">
                <a:solidFill>
                  <a:srgbClr val="FFFFFF"/>
                </a:solidFill>
                <a:latin typeface="Century Gothic" pitchFamily="34" charset="0"/>
                <a:cs typeface="Arial" pitchFamily="34" charset="0"/>
              </a:rPr>
              <a:t>2</a:t>
            </a:r>
            <a:r>
              <a:rPr lang="fr-FR" altLang="zh-CN" sz="1600" b="1" baseline="30000" dirty="0">
                <a:solidFill>
                  <a:srgbClr val="FFFFFF"/>
                </a:solidFill>
                <a:latin typeface="Century Gothic" pitchFamily="34" charset="0"/>
                <a:cs typeface="Arial" pitchFamily="34" charset="0"/>
              </a:rPr>
              <a:t>nd</a:t>
            </a:r>
            <a:r>
              <a:rPr lang="fr-FR" altLang="zh-CN" sz="1600" b="1" dirty="0">
                <a:solidFill>
                  <a:srgbClr val="FFFFFF"/>
                </a:solidFill>
                <a:latin typeface="Century Gothic" pitchFamily="34" charset="0"/>
                <a:cs typeface="Arial" pitchFamily="34" charset="0"/>
              </a:rPr>
              <a:t>  </a:t>
            </a:r>
            <a:r>
              <a:rPr lang="fr-FR" altLang="zh-CN" b="1" dirty="0" err="1">
                <a:solidFill>
                  <a:srgbClr val="FFFFFF"/>
                </a:solidFill>
                <a:latin typeface="Century Gothic" pitchFamily="34" charset="0"/>
                <a:cs typeface="Arial" pitchFamily="34" charset="0"/>
              </a:rPr>
              <a:t>Exporting</a:t>
            </a:r>
            <a:r>
              <a:rPr lang="fr-FR" altLang="zh-CN" b="1" dirty="0">
                <a:solidFill>
                  <a:srgbClr val="FFFFFF"/>
                </a:solidFill>
                <a:latin typeface="Century Gothic" pitchFamily="34" charset="0"/>
                <a:cs typeface="Arial" pitchFamily="34" charset="0"/>
              </a:rPr>
              <a:t> </a:t>
            </a:r>
            <a:r>
              <a:rPr lang="fr-FR" altLang="zh-CN" b="1" dirty="0" err="1">
                <a:solidFill>
                  <a:srgbClr val="FFFFFF"/>
                </a:solidFill>
                <a:latin typeface="Century Gothic" pitchFamily="34" charset="0"/>
                <a:cs typeface="Arial" pitchFamily="34" charset="0"/>
              </a:rPr>
              <a:t>Sector</a:t>
            </a:r>
            <a:endParaRPr lang="fr-FR" altLang="zh-CN" b="1" dirty="0">
              <a:solidFill>
                <a:srgbClr val="FFFFFF"/>
              </a:solidFill>
              <a:latin typeface="Century Gothic" pitchFamily="34" charset="0"/>
              <a:cs typeface="Arial" pitchFamily="34" charset="0"/>
            </a:endParaRPr>
          </a:p>
        </p:txBody>
      </p:sp>
      <p:grpSp>
        <p:nvGrpSpPr>
          <p:cNvPr id="184339" name="Groupe 1"/>
          <p:cNvGrpSpPr>
            <a:grpSpLocks/>
          </p:cNvGrpSpPr>
          <p:nvPr/>
        </p:nvGrpSpPr>
        <p:grpSpPr bwMode="auto">
          <a:xfrm>
            <a:off x="4572000" y="3376613"/>
            <a:ext cx="4481513" cy="2573337"/>
            <a:chOff x="4572000" y="2584972"/>
            <a:chExt cx="4481753" cy="2572220"/>
          </a:xfrm>
        </p:grpSpPr>
        <p:pic>
          <p:nvPicPr>
            <p:cNvPr id="18434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1" y="3566558"/>
              <a:ext cx="1296144" cy="433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1" name="Picture 2" descr="http://t3.gstatic.com/images?q=tbn:ANd9GcR7oHxgL09zFfHMo3geMrHI3dN3FOUWPoMTIP3m-8Vw57WJ4BmzvQ"/>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18710" y="2729249"/>
              <a:ext cx="720080" cy="479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2" name="Picture 8" descr="http://t0.gstatic.com/images?q=tbn:ANd9GcRUkv_WCuoHDSkcDMpDEI2eYsCExgyOnv6w96X9qaT4h_G1Hor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98111" y="2819345"/>
              <a:ext cx="612068" cy="612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3" name="Picture 18" descr="http://www.solderie-lemondedelamode.com/upload/Image/Logo_Chantelle.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38790" y="3605453"/>
              <a:ext cx="1008112" cy="314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4" name="Picture 26" descr="http://t2.gstatic.com/images?q=tbn:ANd9GcRoCs3yjmRe_-ILHeT8niNbqJ326IBsmT8eli9CxukwN7vq6z0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54347" y="3667744"/>
              <a:ext cx="936104" cy="189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5" name="Picture 30" descr="http://www.sumerpark.net/resim/1c24ble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89848" y="2584972"/>
              <a:ext cx="1080120"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6" name="Picture 32" descr="http://www.vandel.fr/img/logo-vandevelde.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78550" y="2729249"/>
              <a:ext cx="1440160"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7" name="Picture 34" descr="http://t1.gstatic.com/images?q=tbn:ANd9GcTBPMo3DnlNMfK4z7d_KfYsqK8vJomyiDNi-8tRuZv5aVUlSqdQCQQDak8K"/>
            <p:cNvPicPr>
              <a:picLocks noChangeAspect="1" noChangeArrowheads="1"/>
            </p:cNvPicPr>
            <p:nvPr/>
          </p:nvPicPr>
          <p:blipFill>
            <a:blip r:embed="rId10">
              <a:extLst>
                <a:ext uri="{28A0092B-C50C-407E-A947-70E740481C1C}">
                  <a14:useLocalDpi xmlns:a14="http://schemas.microsoft.com/office/drawing/2010/main" val="0"/>
                </a:ext>
              </a:extLst>
            </a:blip>
            <a:srcRect t="18391" b="25182"/>
            <a:stretch>
              <a:fillRect/>
            </a:stretch>
          </p:blipFill>
          <p:spPr bwMode="auto">
            <a:xfrm>
              <a:off x="7901142" y="3984355"/>
              <a:ext cx="936104" cy="452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8" name="Picture 36" descr="http://royalteurope.r.o.pic.centerblog.net/zara-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72000" y="4198584"/>
              <a:ext cx="1008112" cy="2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9" name="Picture 58" descr="http://event1.ubiqus-es.com/PpeGsmExposant107EurovetMC111/App_Images/Upload/Marques/Logo%5b1543%5d%5b3%5d.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84635" y="4548311"/>
              <a:ext cx="1369118" cy="455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0" name="Picture 72" descr="http://t2.gstatic.com/images?q=tbn:ANd9GcSh7_WZGQIEkmTmiAwaHwWMWkQprWF3ozabF-6M2cT-ceu1OPxsGiycRYiB"/>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72000" y="4518946"/>
              <a:ext cx="880440" cy="638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1" name="Picture 74" descr="http://t1.gstatic.com/images?q=tbn:ANd9GcSD8w44tC64eZJtFxsFyca0O9sIr8FL_TmWg4sE5ZSyOrSb7GYx"/>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12160" y="4480814"/>
              <a:ext cx="1080120" cy="52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2" name="Picture 76" descr="http://t1.gstatic.com/images?q=tbn:ANd9GcSMfPJkh3kO6TkxVrd3fY_AwRqwnAg_4bc5QWC8v8paZE9cW5kBBw"/>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68145" y="4212033"/>
              <a:ext cx="1565053" cy="268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ZoneTexte 4"/>
          <p:cNvSpPr txBox="1">
            <a:spLocks noChangeArrowheads="1"/>
          </p:cNvSpPr>
          <p:nvPr/>
        </p:nvSpPr>
        <p:spPr bwMode="auto">
          <a:xfrm>
            <a:off x="827088" y="3357563"/>
            <a:ext cx="74168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defRPr/>
            </a:pPr>
            <a:r>
              <a:rPr lang="en-US" altLang="fr-FR" b="1" dirty="0">
                <a:solidFill>
                  <a:srgbClr val="002060"/>
                </a:solidFill>
                <a:effectLst>
                  <a:outerShdw blurRad="38100" dist="38100" dir="2700000" algn="tl">
                    <a:srgbClr val="000000">
                      <a:alpha val="43137"/>
                    </a:srgbClr>
                  </a:outerShdw>
                </a:effectLst>
                <a:latin typeface="+mn-lt"/>
                <a:cs typeface="+mn-cs"/>
              </a:rPr>
              <a:t>Thank you for listening</a:t>
            </a:r>
          </a:p>
        </p:txBody>
      </p:sp>
      <p:pic>
        <p:nvPicPr>
          <p:cNvPr id="186371" name="Picture 5" descr="Drapeau du pays (24409)"/>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4170363" y="1341438"/>
            <a:ext cx="11620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6372" name="ZoneTexte 4"/>
          <p:cNvSpPr txBox="1">
            <a:spLocks noChangeArrowheads="1"/>
          </p:cNvSpPr>
          <p:nvPr/>
        </p:nvSpPr>
        <p:spPr bwMode="auto">
          <a:xfrm>
            <a:off x="2428875" y="5300663"/>
            <a:ext cx="46450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fr-FR" altLang="fr-FR" sz="2000" b="1">
                <a:solidFill>
                  <a:srgbClr val="77CEE8"/>
                </a:solidFill>
              </a:rPr>
              <a:t>www.investintunisia.tn</a:t>
            </a:r>
          </a:p>
        </p:txBody>
      </p:sp>
      <p:sp>
        <p:nvSpPr>
          <p:cNvPr id="186373" name="Rectangle 6"/>
          <p:cNvSpPr>
            <a:spLocks noChangeArrowheads="1"/>
          </p:cNvSpPr>
          <p:nvPr/>
        </p:nvSpPr>
        <p:spPr bwMode="auto">
          <a:xfrm>
            <a:off x="3508375" y="5830888"/>
            <a:ext cx="24860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fr-FR" altLang="fr-FR" sz="1800" b="1">
                <a:solidFill>
                  <a:srgbClr val="219CBF"/>
                </a:solidFill>
                <a:latin typeface="Arial" panose="020B0604020202020204" pitchFamily="34" charset="0"/>
              </a:rPr>
              <a:t>khalil.laabidi@fipa.tn</a:t>
            </a:r>
            <a:endParaRPr lang="fr-FR" altLang="fr-FR" sz="2400" b="1">
              <a:solidFill>
                <a:srgbClr val="219CBF"/>
              </a:solidFill>
              <a:latin typeface="Arial" panose="020B0604020202020204" pitchFamily="34" charset="0"/>
            </a:endParaRPr>
          </a:p>
        </p:txBody>
      </p:sp>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e 2"/>
          <p:cNvGraphicFramePr/>
          <p:nvPr/>
        </p:nvGraphicFramePr>
        <p:xfrm>
          <a:off x="325724" y="1268760"/>
          <a:ext cx="8424936" cy="51845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9507" name="Titre 1"/>
          <p:cNvSpPr>
            <a:spLocks noGrp="1"/>
          </p:cNvSpPr>
          <p:nvPr>
            <p:ph type="title"/>
          </p:nvPr>
        </p:nvSpPr>
        <p:spPr>
          <a:xfrm>
            <a:off x="1042988" y="0"/>
            <a:ext cx="4176712" cy="1052513"/>
          </a:xfrm>
        </p:spPr>
        <p:txBody>
          <a:bodyPr/>
          <a:lstStyle/>
          <a:p>
            <a:pPr algn="ctr" eaLnBrk="1" hangingPunct="1"/>
            <a:r>
              <a:rPr lang="fr-FR" altLang="fr-FR" sz="2000" b="1" smtClean="0">
                <a:solidFill>
                  <a:schemeClr val="tx2"/>
                </a:solidFill>
              </a:rPr>
              <a:t>OVERVIEW</a:t>
            </a:r>
          </a:p>
        </p:txBody>
      </p:sp>
      <p:sp>
        <p:nvSpPr>
          <p:cNvPr id="2" name="ZoneTexte 1"/>
          <p:cNvSpPr txBox="1"/>
          <p:nvPr/>
        </p:nvSpPr>
        <p:spPr>
          <a:xfrm>
            <a:off x="3449638" y="2001838"/>
            <a:ext cx="360362" cy="769937"/>
          </a:xfrm>
          <a:prstGeom prst="rect">
            <a:avLst/>
          </a:prstGeom>
          <a:noFill/>
        </p:spPr>
        <p:txBody>
          <a:bodyPr>
            <a:spAutoFit/>
          </a:bodyPr>
          <a:lstStyle/>
          <a:p>
            <a:pPr algn="ctr" eaLnBrk="1" hangingPunct="1">
              <a:defRPr/>
            </a:pPr>
            <a:r>
              <a:rPr lang="fr-FR" sz="4400" b="1" dirty="0">
                <a:solidFill>
                  <a:srgbClr val="002060"/>
                </a:solidFill>
                <a:effectLst>
                  <a:outerShdw blurRad="38100" dist="38100" dir="2700000" algn="tl">
                    <a:srgbClr val="000000">
                      <a:alpha val="43137"/>
                    </a:srgbClr>
                  </a:outerShdw>
                </a:effectLst>
                <a:latin typeface="Century Gothic" pitchFamily="34" charset="0"/>
              </a:rPr>
              <a:t>1</a:t>
            </a:r>
          </a:p>
        </p:txBody>
      </p:sp>
      <p:sp>
        <p:nvSpPr>
          <p:cNvPr id="13" name="ZoneTexte 12"/>
          <p:cNvSpPr txBox="1"/>
          <p:nvPr/>
        </p:nvSpPr>
        <p:spPr>
          <a:xfrm>
            <a:off x="3500438" y="3405188"/>
            <a:ext cx="358775" cy="769937"/>
          </a:xfrm>
          <a:prstGeom prst="rect">
            <a:avLst/>
          </a:prstGeom>
          <a:noFill/>
        </p:spPr>
        <p:txBody>
          <a:bodyPr>
            <a:spAutoFit/>
          </a:bodyPr>
          <a:lstStyle/>
          <a:p>
            <a:pPr algn="ctr" eaLnBrk="1" hangingPunct="1">
              <a:defRPr/>
            </a:pPr>
            <a:r>
              <a:rPr lang="fr-FR" sz="4400" b="1" dirty="0">
                <a:solidFill>
                  <a:srgbClr val="FFFFFF">
                    <a:lumMod val="75000"/>
                  </a:srgbClr>
                </a:solidFill>
                <a:effectLst>
                  <a:outerShdw blurRad="38100" dist="38100" dir="2700000" algn="tl">
                    <a:srgbClr val="000000">
                      <a:alpha val="43137"/>
                    </a:srgbClr>
                  </a:outerShdw>
                </a:effectLst>
                <a:latin typeface="Century Gothic" pitchFamily="34" charset="0"/>
              </a:rPr>
              <a:t>2</a:t>
            </a:r>
          </a:p>
        </p:txBody>
      </p:sp>
      <p:sp>
        <p:nvSpPr>
          <p:cNvPr id="17" name="ZoneTexte 16"/>
          <p:cNvSpPr txBox="1"/>
          <p:nvPr/>
        </p:nvSpPr>
        <p:spPr>
          <a:xfrm>
            <a:off x="3533775" y="4887913"/>
            <a:ext cx="360363" cy="768350"/>
          </a:xfrm>
          <a:prstGeom prst="rect">
            <a:avLst/>
          </a:prstGeom>
          <a:noFill/>
        </p:spPr>
        <p:txBody>
          <a:bodyPr>
            <a:spAutoFit/>
          </a:bodyPr>
          <a:lstStyle/>
          <a:p>
            <a:pPr algn="ctr" eaLnBrk="1" hangingPunct="1">
              <a:defRPr/>
            </a:pPr>
            <a:r>
              <a:rPr lang="fr-FR" sz="4400" b="1" dirty="0">
                <a:solidFill>
                  <a:srgbClr val="FFFFFF">
                    <a:lumMod val="75000"/>
                  </a:srgbClr>
                </a:solidFill>
                <a:effectLst>
                  <a:outerShdw blurRad="38100" dist="38100" dir="2700000" algn="tl">
                    <a:srgbClr val="000000">
                      <a:alpha val="43137"/>
                    </a:srgbClr>
                  </a:outerShdw>
                </a:effectLst>
                <a:latin typeface="Century Gothic" pitchFamily="34" charset="0"/>
              </a:rPr>
              <a:t>3</a:t>
            </a:r>
          </a:p>
        </p:txBody>
      </p:sp>
      <p:sp>
        <p:nvSpPr>
          <p:cNvPr id="149511" name="ZoneTexte 4"/>
          <p:cNvSpPr txBox="1">
            <a:spLocks noChangeArrowheads="1"/>
          </p:cNvSpPr>
          <p:nvPr/>
        </p:nvSpPr>
        <p:spPr bwMode="auto">
          <a:xfrm>
            <a:off x="3906838" y="2185988"/>
            <a:ext cx="4741862" cy="338137"/>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fr-FR" altLang="fr-FR" sz="1600" b="1">
                <a:solidFill>
                  <a:srgbClr val="F2F2F2"/>
                </a:solidFill>
                <a:latin typeface="Century Gothic" panose="020B0502020202020204" pitchFamily="34" charset="0"/>
              </a:rPr>
              <a:t>INVESTMENT LAW</a:t>
            </a:r>
          </a:p>
        </p:txBody>
      </p:sp>
      <p:sp>
        <p:nvSpPr>
          <p:cNvPr id="11" name="ZoneTexte 10"/>
          <p:cNvSpPr txBox="1"/>
          <p:nvPr/>
        </p:nvSpPr>
        <p:spPr>
          <a:xfrm>
            <a:off x="4043363" y="4979988"/>
            <a:ext cx="4638675" cy="584200"/>
          </a:xfrm>
          <a:prstGeom prst="rect">
            <a:avLst/>
          </a:prstGeom>
          <a:solidFill>
            <a:schemeClr val="tx2">
              <a:lumMod val="85000"/>
            </a:schemeClr>
          </a:solidFill>
        </p:spPr>
        <p:txBody>
          <a:bodyPr>
            <a:spAutoFit/>
          </a:bodyPr>
          <a:lstStyle/>
          <a:p>
            <a:pPr eaLnBrk="1" hangingPunct="1">
              <a:defRPr/>
            </a:pPr>
            <a:r>
              <a:rPr lang="fr-FR" sz="1600" b="1" dirty="0">
                <a:solidFill>
                  <a:srgbClr val="FFFFFF"/>
                </a:solidFill>
                <a:latin typeface="Century Gothic" pitchFamily="34" charset="0"/>
              </a:rPr>
              <a:t>PROMISING INVESTMENT OPPORTUNITIES PREVAILING IN TUNISIA</a:t>
            </a:r>
          </a:p>
        </p:txBody>
      </p:sp>
      <p:sp>
        <p:nvSpPr>
          <p:cNvPr id="12" name="ZoneTexte 11"/>
          <p:cNvSpPr txBox="1"/>
          <p:nvPr/>
        </p:nvSpPr>
        <p:spPr>
          <a:xfrm>
            <a:off x="4076700" y="3619500"/>
            <a:ext cx="4572000" cy="339725"/>
          </a:xfrm>
          <a:prstGeom prst="rect">
            <a:avLst/>
          </a:prstGeom>
          <a:solidFill>
            <a:schemeClr val="tx2">
              <a:lumMod val="85000"/>
            </a:schemeClr>
          </a:solidFill>
        </p:spPr>
        <p:txBody>
          <a:bodyPr>
            <a:spAutoFit/>
          </a:bodyPr>
          <a:lstStyle/>
          <a:p>
            <a:pPr eaLnBrk="1" hangingPunct="1">
              <a:defRPr/>
            </a:pPr>
            <a:r>
              <a:rPr lang="fr-FR" sz="1600" b="1" dirty="0">
                <a:solidFill>
                  <a:srgbClr val="FFFFFF"/>
                </a:solidFill>
                <a:latin typeface="Century Gothic" pitchFamily="34" charset="0"/>
              </a:rPr>
              <a:t>COOPERATION BETWEEN TUNISIA- </a:t>
            </a:r>
            <a:r>
              <a:rPr lang="fr-FR" sz="1600" b="1" dirty="0" smtClean="0">
                <a:solidFill>
                  <a:srgbClr val="FFFFFF"/>
                </a:solidFill>
                <a:latin typeface="Century Gothic" pitchFamily="34" charset="0"/>
              </a:rPr>
              <a:t>TURKEY </a:t>
            </a:r>
            <a:endParaRPr lang="fr-FR" sz="1600" b="1" dirty="0">
              <a:solidFill>
                <a:srgbClr val="FFFFFF"/>
              </a:solidFill>
              <a:latin typeface="Century Gothic"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3868738" y="1143000"/>
            <a:ext cx="4460875" cy="388938"/>
          </a:xfrm>
          <a:prstGeom prst="rect">
            <a:avLst/>
          </a:prstGeom>
          <a:solidFill>
            <a:srgbClr val="002060"/>
          </a:solidFill>
          <a:ln w="9525">
            <a:noFill/>
            <a:miter lim="800000"/>
            <a:headEnd/>
            <a:tailEnd/>
          </a:ln>
        </p:spPr>
        <p:txBody>
          <a:bodyPr rIns="72000" anchor="ctr"/>
          <a:lstStyle/>
          <a:p>
            <a:pPr marL="0" lvl="1" algn="ctr" rtl="1" eaLnBrk="1" fontAlgn="auto" hangingPunct="1">
              <a:spcBef>
                <a:spcPts val="0"/>
              </a:spcBef>
              <a:spcAft>
                <a:spcPts val="0"/>
              </a:spcAft>
              <a:defRPr/>
            </a:pPr>
            <a:r>
              <a:rPr lang="en-US" sz="1400" b="1" kern="0" dirty="0">
                <a:solidFill>
                  <a:srgbClr val="FFFFFF"/>
                </a:solidFill>
                <a:sym typeface="Wingdings" pitchFamily="2" charset="2"/>
              </a:rPr>
              <a:t>Structural, Economic and Social Reforms Include</a:t>
            </a:r>
            <a:endParaRPr lang="de-DE" sz="1400" b="1" kern="0" dirty="0">
              <a:solidFill>
                <a:srgbClr val="FFFFFF"/>
              </a:solidFill>
            </a:endParaRPr>
          </a:p>
        </p:txBody>
      </p:sp>
      <p:sp>
        <p:nvSpPr>
          <p:cNvPr id="79" name="Isosceles Triangle 23"/>
          <p:cNvSpPr/>
          <p:nvPr/>
        </p:nvSpPr>
        <p:spPr>
          <a:xfrm rot="16200000" flipV="1">
            <a:off x="1258095" y="3666331"/>
            <a:ext cx="5072062" cy="161925"/>
          </a:xfrm>
          <a:prstGeom prst="triangle">
            <a:avLst>
              <a:gd name="adj" fmla="val 50419"/>
            </a:avLst>
          </a:prstGeom>
          <a:solidFill>
            <a:srgbClr val="D8D8D8"/>
          </a:solidFill>
          <a:ln w="19050" cap="flat" cmpd="sng" algn="ctr">
            <a:noFill/>
            <a:prstDash val="dash"/>
          </a:ln>
          <a:effectLst/>
        </p:spPr>
        <p:txBody>
          <a:bodyPr anchor="ctr"/>
          <a:lstStyle/>
          <a:p>
            <a:pPr algn="ctr" eaLnBrk="1" fontAlgn="auto" hangingPunct="1">
              <a:spcBef>
                <a:spcPts val="0"/>
              </a:spcBef>
              <a:spcAft>
                <a:spcPts val="0"/>
              </a:spcAft>
              <a:defRPr/>
            </a:pPr>
            <a:endParaRPr lang="en-US" sz="1200" kern="0">
              <a:solidFill>
                <a:srgbClr val="000000"/>
              </a:solidFill>
            </a:endParaRPr>
          </a:p>
        </p:txBody>
      </p:sp>
      <p:sp>
        <p:nvSpPr>
          <p:cNvPr id="80" name="Rectangle 79"/>
          <p:cNvSpPr/>
          <p:nvPr/>
        </p:nvSpPr>
        <p:spPr>
          <a:xfrm>
            <a:off x="3881438" y="1531938"/>
            <a:ext cx="4443412" cy="4711700"/>
          </a:xfrm>
          <a:prstGeom prst="rect">
            <a:avLst/>
          </a:prstGeom>
          <a:noFill/>
          <a:ln w="9525" cap="flat" cmpd="sng" algn="ctr">
            <a:solidFill>
              <a:srgbClr val="980F39"/>
            </a:solidFill>
            <a:prstDash val="solid"/>
          </a:ln>
          <a:effectLst/>
        </p:spPr>
        <p:txBody>
          <a:bodyPr anchor="ctr"/>
          <a:lstStyle/>
          <a:p>
            <a:pPr marL="114300" lvl="1" indent="-114300" algn="r" rtl="1" eaLnBrk="1" fontAlgn="auto" hangingPunct="1">
              <a:lnSpc>
                <a:spcPct val="150000"/>
              </a:lnSpc>
              <a:spcBef>
                <a:spcPts val="0"/>
              </a:spcBef>
              <a:spcAft>
                <a:spcPts val="0"/>
              </a:spcAft>
              <a:defRPr/>
            </a:pPr>
            <a:r>
              <a:rPr lang="ar-TN" sz="1200" kern="0" dirty="0">
                <a:solidFill>
                  <a:srgbClr val="000000"/>
                </a:solidFill>
              </a:rPr>
              <a:t> </a:t>
            </a:r>
            <a:endParaRPr lang="fr-FR" sz="1200" kern="0" dirty="0">
              <a:solidFill>
                <a:srgbClr val="000000"/>
              </a:solidFill>
            </a:endParaRPr>
          </a:p>
        </p:txBody>
      </p:sp>
      <p:sp>
        <p:nvSpPr>
          <p:cNvPr id="81" name="Rectangle 80"/>
          <p:cNvSpPr/>
          <p:nvPr/>
        </p:nvSpPr>
        <p:spPr>
          <a:xfrm rot="16200000">
            <a:off x="5276057" y="2312193"/>
            <a:ext cx="1073150" cy="957263"/>
          </a:xfrm>
          <a:prstGeom prst="rect">
            <a:avLst/>
          </a:prstGeom>
          <a:solidFill>
            <a:srgbClr val="FFFFFF"/>
          </a:solidFill>
          <a:ln w="25400" cap="flat" cmpd="sng" algn="ctr">
            <a:noFill/>
            <a:prstDash val="solid"/>
          </a:ln>
          <a:effectLst/>
        </p:spPr>
        <p:txBody>
          <a:bodyPr rtlCol="1" anchor="ctr"/>
          <a:lstStyle/>
          <a:p>
            <a:pPr algn="ctr" eaLnBrk="1" fontAlgn="auto" hangingPunct="1">
              <a:spcBef>
                <a:spcPts val="0"/>
              </a:spcBef>
              <a:spcAft>
                <a:spcPts val="0"/>
              </a:spcAft>
              <a:defRPr/>
            </a:pPr>
            <a:endParaRPr lang="fr-FR" sz="1200" b="1" kern="0">
              <a:solidFill>
                <a:srgbClr val="000000"/>
              </a:solidFill>
            </a:endParaRPr>
          </a:p>
        </p:txBody>
      </p:sp>
      <p:sp>
        <p:nvSpPr>
          <p:cNvPr id="82" name="Rectangle 81"/>
          <p:cNvSpPr/>
          <p:nvPr/>
        </p:nvSpPr>
        <p:spPr>
          <a:xfrm rot="10800000">
            <a:off x="4341813" y="2763838"/>
            <a:ext cx="1038225" cy="990600"/>
          </a:xfrm>
          <a:prstGeom prst="rect">
            <a:avLst/>
          </a:prstGeom>
          <a:solidFill>
            <a:srgbClr val="FFFFFF"/>
          </a:solidFill>
          <a:ln w="25400" cap="flat" cmpd="sng" algn="ctr">
            <a:noFill/>
            <a:prstDash val="solid"/>
          </a:ln>
          <a:effectLst/>
        </p:spPr>
        <p:txBody>
          <a:bodyPr rtlCol="1" anchor="ctr"/>
          <a:lstStyle/>
          <a:p>
            <a:pPr algn="ctr" eaLnBrk="1" fontAlgn="auto" hangingPunct="1">
              <a:spcBef>
                <a:spcPts val="0"/>
              </a:spcBef>
              <a:spcAft>
                <a:spcPts val="0"/>
              </a:spcAft>
              <a:defRPr/>
            </a:pPr>
            <a:endParaRPr lang="fr-FR" sz="1200" b="1" kern="0">
              <a:solidFill>
                <a:srgbClr val="000000"/>
              </a:solidFill>
            </a:endParaRPr>
          </a:p>
        </p:txBody>
      </p:sp>
      <p:sp>
        <p:nvSpPr>
          <p:cNvPr id="83" name="Rectangle 82"/>
          <p:cNvSpPr/>
          <p:nvPr/>
        </p:nvSpPr>
        <p:spPr>
          <a:xfrm>
            <a:off x="4892675" y="4327525"/>
            <a:ext cx="1038225" cy="990600"/>
          </a:xfrm>
          <a:prstGeom prst="rect">
            <a:avLst/>
          </a:prstGeom>
          <a:solidFill>
            <a:srgbClr val="FFFFFF"/>
          </a:solidFill>
          <a:ln w="25400" cap="flat" cmpd="sng" algn="ctr">
            <a:noFill/>
            <a:prstDash val="solid"/>
          </a:ln>
          <a:effectLst/>
        </p:spPr>
        <p:txBody>
          <a:bodyPr rtlCol="1" anchor="ctr"/>
          <a:lstStyle/>
          <a:p>
            <a:pPr algn="ctr" eaLnBrk="1" fontAlgn="auto" hangingPunct="1">
              <a:spcBef>
                <a:spcPts val="0"/>
              </a:spcBef>
              <a:spcAft>
                <a:spcPts val="0"/>
              </a:spcAft>
              <a:defRPr/>
            </a:pPr>
            <a:endParaRPr lang="fr-FR" sz="1200" b="1" kern="0">
              <a:solidFill>
                <a:srgbClr val="000000"/>
              </a:solidFill>
            </a:endParaRPr>
          </a:p>
        </p:txBody>
      </p:sp>
      <p:sp>
        <p:nvSpPr>
          <p:cNvPr id="84" name="Hexagon 142"/>
          <p:cNvSpPr/>
          <p:nvPr/>
        </p:nvSpPr>
        <p:spPr>
          <a:xfrm>
            <a:off x="7289800" y="3035300"/>
            <a:ext cx="1054100" cy="990600"/>
          </a:xfrm>
          <a:prstGeom prst="hexagon">
            <a:avLst>
              <a:gd name="adj" fmla="val 27574"/>
              <a:gd name="vf" fmla="val 115470"/>
            </a:avLst>
          </a:prstGeom>
          <a:solidFill>
            <a:srgbClr val="B0CA91">
              <a:lumMod val="40000"/>
              <a:lumOff val="60000"/>
            </a:srgbClr>
          </a:solidFill>
          <a:ln>
            <a:noFill/>
          </a:ln>
        </p:spPr>
        <p:txBody>
          <a:bodyPr anchor="ctr"/>
          <a:lstStyle/>
          <a:p>
            <a:pPr algn="ctr" defTabSz="457200" eaLnBrk="1" fontAlgn="auto" hangingPunct="1">
              <a:spcBef>
                <a:spcPts val="0"/>
              </a:spcBef>
              <a:spcAft>
                <a:spcPts val="0"/>
              </a:spcAft>
              <a:defRPr/>
            </a:pPr>
            <a:endParaRPr lang="en-GB" sz="800" b="1" kern="0" dirty="0">
              <a:solidFill>
                <a:srgbClr val="000000"/>
              </a:solidFill>
            </a:endParaRPr>
          </a:p>
        </p:txBody>
      </p:sp>
      <p:sp>
        <p:nvSpPr>
          <p:cNvPr id="85" name="Hexagon 143"/>
          <p:cNvSpPr/>
          <p:nvPr/>
        </p:nvSpPr>
        <p:spPr>
          <a:xfrm>
            <a:off x="6405563" y="2555875"/>
            <a:ext cx="1084262" cy="990600"/>
          </a:xfrm>
          <a:prstGeom prst="hexagon">
            <a:avLst>
              <a:gd name="adj" fmla="val 27574"/>
              <a:gd name="vf" fmla="val 115470"/>
            </a:avLst>
          </a:prstGeom>
          <a:solidFill>
            <a:srgbClr val="00B050"/>
          </a:solidFill>
          <a:ln w="9525">
            <a:solidFill>
              <a:srgbClr val="000000">
                <a:lumMod val="40000"/>
                <a:lumOff val="60000"/>
              </a:srgbClr>
            </a:solidFill>
            <a:miter lim="800000"/>
            <a:headEnd/>
            <a:tailEnd/>
          </a:ln>
        </p:spPr>
        <p:txBody>
          <a:bodyPr rIns="72000" anchor="ctr"/>
          <a:lstStyle/>
          <a:p>
            <a:pPr marL="0" lvl="1" algn="ctr" eaLnBrk="1" fontAlgn="auto" hangingPunct="1">
              <a:spcBef>
                <a:spcPts val="0"/>
              </a:spcBef>
              <a:spcAft>
                <a:spcPts val="0"/>
              </a:spcAft>
              <a:defRPr/>
            </a:pPr>
            <a:r>
              <a:rPr lang="en-GB" sz="800" b="1" kern="0" dirty="0">
                <a:solidFill>
                  <a:srgbClr val="FFFFFF"/>
                </a:solidFill>
                <a:sym typeface="Wingdings" pitchFamily="2" charset="2"/>
              </a:rPr>
              <a:t>Investment Law</a:t>
            </a:r>
          </a:p>
        </p:txBody>
      </p:sp>
      <p:sp>
        <p:nvSpPr>
          <p:cNvPr id="86" name="Hexagon 144"/>
          <p:cNvSpPr/>
          <p:nvPr/>
        </p:nvSpPr>
        <p:spPr>
          <a:xfrm>
            <a:off x="7258050" y="4059238"/>
            <a:ext cx="1036638" cy="990600"/>
          </a:xfrm>
          <a:prstGeom prst="hexagon">
            <a:avLst>
              <a:gd name="adj" fmla="val 27574"/>
              <a:gd name="vf" fmla="val 115470"/>
            </a:avLst>
          </a:prstGeom>
          <a:solidFill>
            <a:srgbClr val="B0CA91">
              <a:lumMod val="40000"/>
              <a:lumOff val="60000"/>
            </a:srgbClr>
          </a:solidFill>
          <a:ln>
            <a:noFill/>
          </a:ln>
        </p:spPr>
        <p:txBody>
          <a:bodyPr anchor="ctr"/>
          <a:lstStyle/>
          <a:p>
            <a:pPr marL="0" lvl="1" algn="ctr" eaLnBrk="1" fontAlgn="auto" hangingPunct="1">
              <a:spcBef>
                <a:spcPts val="0"/>
              </a:spcBef>
              <a:spcAft>
                <a:spcPts val="0"/>
              </a:spcAft>
              <a:defRPr/>
            </a:pPr>
            <a:endParaRPr lang="en-GB" sz="900" b="1" kern="0" dirty="0">
              <a:solidFill>
                <a:srgbClr val="000000"/>
              </a:solidFill>
            </a:endParaRPr>
          </a:p>
        </p:txBody>
      </p:sp>
      <p:sp>
        <p:nvSpPr>
          <p:cNvPr id="87" name="Hexagon 145"/>
          <p:cNvSpPr/>
          <p:nvPr/>
        </p:nvSpPr>
        <p:spPr>
          <a:xfrm>
            <a:off x="6438900" y="1647825"/>
            <a:ext cx="1038225" cy="852488"/>
          </a:xfrm>
          <a:prstGeom prst="hexagon">
            <a:avLst>
              <a:gd name="adj" fmla="val 27574"/>
              <a:gd name="vf" fmla="val 115470"/>
            </a:avLst>
          </a:prstGeom>
          <a:solidFill>
            <a:srgbClr val="E51B2E">
              <a:lumMod val="20000"/>
              <a:lumOff val="80000"/>
            </a:srgbClr>
          </a:solidFill>
          <a:ln>
            <a:noFill/>
          </a:ln>
        </p:spPr>
        <p:txBody>
          <a:bodyPr lIns="0" rIns="0" anchor="ctr"/>
          <a:lstStyle/>
          <a:p>
            <a:pPr algn="ctr" eaLnBrk="1" fontAlgn="auto" hangingPunct="1">
              <a:spcBef>
                <a:spcPts val="0"/>
              </a:spcBef>
              <a:spcAft>
                <a:spcPts val="0"/>
              </a:spcAft>
              <a:defRPr/>
            </a:pPr>
            <a:r>
              <a:rPr lang="en-US" sz="800" b="1" kern="0" dirty="0">
                <a:solidFill>
                  <a:srgbClr val="000000"/>
                </a:solidFill>
              </a:rPr>
              <a:t>Streamlining public administration and administrative procedures</a:t>
            </a:r>
            <a:endParaRPr lang="fr-FR" sz="800" b="1" kern="0" dirty="0">
              <a:solidFill>
                <a:srgbClr val="000000"/>
              </a:solidFill>
            </a:endParaRPr>
          </a:p>
        </p:txBody>
      </p:sp>
      <p:sp>
        <p:nvSpPr>
          <p:cNvPr id="88" name="Hexagon 146"/>
          <p:cNvSpPr/>
          <p:nvPr/>
        </p:nvSpPr>
        <p:spPr>
          <a:xfrm>
            <a:off x="5614988" y="2022475"/>
            <a:ext cx="1038225" cy="990600"/>
          </a:xfrm>
          <a:prstGeom prst="hexagon">
            <a:avLst>
              <a:gd name="adj" fmla="val 27574"/>
              <a:gd name="vf" fmla="val 115470"/>
            </a:avLst>
          </a:prstGeom>
          <a:solidFill>
            <a:srgbClr val="E51B2E">
              <a:lumMod val="20000"/>
              <a:lumOff val="80000"/>
            </a:srgbClr>
          </a:solidFill>
          <a:ln>
            <a:noFill/>
          </a:ln>
        </p:spPr>
        <p:txBody>
          <a:bodyPr anchor="ctr"/>
          <a:lstStyle/>
          <a:p>
            <a:pPr algn="ctr" rtl="1" eaLnBrk="1" fontAlgn="auto" hangingPunct="1">
              <a:spcBef>
                <a:spcPts val="0"/>
              </a:spcBef>
              <a:spcAft>
                <a:spcPts val="0"/>
              </a:spcAft>
              <a:defRPr/>
            </a:pPr>
            <a:r>
              <a:rPr lang="en-US" sz="800" b="1" kern="0" dirty="0">
                <a:solidFill>
                  <a:srgbClr val="000000"/>
                </a:solidFill>
              </a:rPr>
              <a:t>Higher Education System</a:t>
            </a:r>
          </a:p>
        </p:txBody>
      </p:sp>
      <p:sp>
        <p:nvSpPr>
          <p:cNvPr id="89" name="Hexagon 147"/>
          <p:cNvSpPr/>
          <p:nvPr/>
        </p:nvSpPr>
        <p:spPr>
          <a:xfrm>
            <a:off x="5614988" y="4092575"/>
            <a:ext cx="1038225" cy="992188"/>
          </a:xfrm>
          <a:prstGeom prst="hexagon">
            <a:avLst>
              <a:gd name="adj" fmla="val 27574"/>
              <a:gd name="vf" fmla="val 115470"/>
            </a:avLst>
          </a:prstGeom>
          <a:solidFill>
            <a:srgbClr val="E51B2E">
              <a:lumMod val="20000"/>
              <a:lumOff val="80000"/>
            </a:srgbClr>
          </a:solidFill>
          <a:ln>
            <a:noFill/>
          </a:ln>
        </p:spPr>
        <p:txBody>
          <a:bodyPr anchor="ctr"/>
          <a:lstStyle/>
          <a:p>
            <a:pPr marL="0" lvl="1" algn="ctr" eaLnBrk="1" fontAlgn="auto" hangingPunct="1">
              <a:spcBef>
                <a:spcPts val="0"/>
              </a:spcBef>
              <a:spcAft>
                <a:spcPts val="0"/>
              </a:spcAft>
              <a:defRPr/>
            </a:pPr>
            <a:r>
              <a:rPr lang="en-GB" sz="900" b="1" kern="0">
                <a:solidFill>
                  <a:srgbClr val="000000"/>
                </a:solidFill>
                <a:sym typeface="Wingdings" pitchFamily="2" charset="2"/>
              </a:rPr>
              <a:t>Exhange Code</a:t>
            </a:r>
          </a:p>
        </p:txBody>
      </p:sp>
      <p:sp>
        <p:nvSpPr>
          <p:cNvPr id="90" name="Hexagon 148"/>
          <p:cNvSpPr/>
          <p:nvPr/>
        </p:nvSpPr>
        <p:spPr>
          <a:xfrm>
            <a:off x="5614988" y="3048000"/>
            <a:ext cx="1038225" cy="990600"/>
          </a:xfrm>
          <a:prstGeom prst="hexagon">
            <a:avLst>
              <a:gd name="adj" fmla="val 27574"/>
              <a:gd name="vf" fmla="val 115470"/>
            </a:avLst>
          </a:prstGeom>
          <a:solidFill>
            <a:srgbClr val="E51B2E">
              <a:lumMod val="20000"/>
              <a:lumOff val="80000"/>
            </a:srgbClr>
          </a:solidFill>
          <a:ln>
            <a:noFill/>
          </a:ln>
        </p:spPr>
        <p:txBody>
          <a:bodyPr anchor="ctr"/>
          <a:lstStyle/>
          <a:p>
            <a:pPr marL="0" lvl="1" algn="ctr" defTabSz="457200" eaLnBrk="1" fontAlgn="auto" hangingPunct="1">
              <a:spcBef>
                <a:spcPts val="0"/>
              </a:spcBef>
              <a:spcAft>
                <a:spcPts val="0"/>
              </a:spcAft>
              <a:defRPr/>
            </a:pPr>
            <a:r>
              <a:rPr lang="fr-FR" sz="900" b="1" kern="0" dirty="0">
                <a:solidFill>
                  <a:srgbClr val="000000"/>
                </a:solidFill>
                <a:sym typeface="Wingdings" pitchFamily="2" charset="2"/>
              </a:rPr>
              <a:t>Customs Code</a:t>
            </a:r>
          </a:p>
        </p:txBody>
      </p:sp>
      <p:sp>
        <p:nvSpPr>
          <p:cNvPr id="91" name="Hexagon 172"/>
          <p:cNvSpPr/>
          <p:nvPr/>
        </p:nvSpPr>
        <p:spPr>
          <a:xfrm>
            <a:off x="4681538" y="2544763"/>
            <a:ext cx="1144587" cy="938212"/>
          </a:xfrm>
          <a:prstGeom prst="hexagon">
            <a:avLst>
              <a:gd name="adj" fmla="val 27574"/>
              <a:gd name="vf" fmla="val 115470"/>
            </a:avLst>
          </a:prstGeom>
          <a:solidFill>
            <a:srgbClr val="FFFFFF">
              <a:lumMod val="85000"/>
            </a:srgbClr>
          </a:solidFill>
          <a:ln>
            <a:noFill/>
          </a:ln>
        </p:spPr>
        <p:txBody>
          <a:bodyPr anchor="ctr"/>
          <a:lstStyle/>
          <a:p>
            <a:pPr algn="ctr" rtl="1" eaLnBrk="1" fontAlgn="auto" hangingPunct="1">
              <a:spcBef>
                <a:spcPts val="0"/>
              </a:spcBef>
              <a:spcAft>
                <a:spcPts val="0"/>
              </a:spcAft>
              <a:defRPr/>
            </a:pPr>
            <a:r>
              <a:rPr lang="en-US" sz="800" b="1" kern="0" dirty="0">
                <a:solidFill>
                  <a:srgbClr val="000000"/>
                </a:solidFill>
              </a:rPr>
              <a:t>Educational  System</a:t>
            </a:r>
          </a:p>
        </p:txBody>
      </p:sp>
      <p:sp>
        <p:nvSpPr>
          <p:cNvPr id="92" name="Hexagon 173"/>
          <p:cNvSpPr/>
          <p:nvPr/>
        </p:nvSpPr>
        <p:spPr>
          <a:xfrm>
            <a:off x="4719638" y="3579813"/>
            <a:ext cx="1106487" cy="935037"/>
          </a:xfrm>
          <a:prstGeom prst="hexagon">
            <a:avLst>
              <a:gd name="adj" fmla="val 27574"/>
              <a:gd name="vf" fmla="val 115470"/>
            </a:avLst>
          </a:prstGeom>
          <a:solidFill>
            <a:srgbClr val="E51B2E">
              <a:lumMod val="20000"/>
              <a:lumOff val="80000"/>
            </a:srgbClr>
          </a:solidFill>
          <a:ln>
            <a:noFill/>
          </a:ln>
        </p:spPr>
        <p:txBody>
          <a:bodyPr anchor="ctr"/>
          <a:lstStyle/>
          <a:p>
            <a:pPr algn="ctr" eaLnBrk="1" fontAlgn="auto" hangingPunct="1">
              <a:spcBef>
                <a:spcPts val="0"/>
              </a:spcBef>
              <a:spcAft>
                <a:spcPts val="0"/>
              </a:spcAft>
              <a:defRPr/>
            </a:pPr>
            <a:r>
              <a:rPr lang="fr-FR" sz="800" b="1" kern="0" dirty="0">
                <a:solidFill>
                  <a:srgbClr val="000000"/>
                </a:solidFill>
              </a:rPr>
              <a:t>Retirement System</a:t>
            </a:r>
          </a:p>
        </p:txBody>
      </p:sp>
      <p:sp>
        <p:nvSpPr>
          <p:cNvPr id="93" name="Hexagon 174"/>
          <p:cNvSpPr/>
          <p:nvPr/>
        </p:nvSpPr>
        <p:spPr>
          <a:xfrm>
            <a:off x="6523038" y="3668713"/>
            <a:ext cx="1050925" cy="942975"/>
          </a:xfrm>
          <a:prstGeom prst="hexagon">
            <a:avLst>
              <a:gd name="adj" fmla="val 27574"/>
              <a:gd name="vf" fmla="val 115470"/>
            </a:avLst>
          </a:prstGeom>
          <a:solidFill>
            <a:srgbClr val="B0CA91">
              <a:lumMod val="40000"/>
              <a:lumOff val="60000"/>
            </a:srgbClr>
          </a:solidFill>
          <a:ln w="9525">
            <a:solidFill>
              <a:srgbClr val="000000">
                <a:lumMod val="40000"/>
                <a:lumOff val="60000"/>
              </a:srgbClr>
            </a:solidFill>
            <a:miter lim="800000"/>
            <a:headEnd/>
            <a:tailEnd/>
          </a:ln>
        </p:spPr>
        <p:txBody>
          <a:bodyPr rIns="72000" anchor="ctr"/>
          <a:lstStyle/>
          <a:p>
            <a:pPr marL="0" lvl="1" algn="ctr" eaLnBrk="1" fontAlgn="auto" hangingPunct="1">
              <a:spcBef>
                <a:spcPts val="0"/>
              </a:spcBef>
              <a:spcAft>
                <a:spcPts val="0"/>
              </a:spcAft>
              <a:defRPr/>
            </a:pPr>
            <a:r>
              <a:rPr lang="en-GB" sz="900" b="1" kern="0">
                <a:solidFill>
                  <a:srgbClr val="000000"/>
                </a:solidFill>
                <a:sym typeface="Wingdings" pitchFamily="2" charset="2"/>
              </a:rPr>
              <a:t>Tax System</a:t>
            </a:r>
          </a:p>
        </p:txBody>
      </p:sp>
      <p:sp>
        <p:nvSpPr>
          <p:cNvPr id="94" name="Hexagon 175"/>
          <p:cNvSpPr/>
          <p:nvPr/>
        </p:nvSpPr>
        <p:spPr>
          <a:xfrm>
            <a:off x="4772025" y="1693863"/>
            <a:ext cx="1030288" cy="777875"/>
          </a:xfrm>
          <a:prstGeom prst="hexagon">
            <a:avLst>
              <a:gd name="adj" fmla="val 27574"/>
              <a:gd name="vf" fmla="val 115470"/>
            </a:avLst>
          </a:prstGeom>
          <a:solidFill>
            <a:srgbClr val="E51B2E">
              <a:lumMod val="20000"/>
              <a:lumOff val="80000"/>
            </a:srgbClr>
          </a:solidFill>
          <a:ln>
            <a:noFill/>
          </a:ln>
        </p:spPr>
        <p:txBody>
          <a:bodyPr anchor="ctr"/>
          <a:lstStyle/>
          <a:p>
            <a:pPr algn="ctr" rtl="1" eaLnBrk="1" fontAlgn="auto" hangingPunct="1">
              <a:spcBef>
                <a:spcPts val="0"/>
              </a:spcBef>
              <a:spcAft>
                <a:spcPts val="0"/>
              </a:spcAft>
              <a:defRPr/>
            </a:pPr>
            <a:r>
              <a:rPr lang="en-GB" sz="800" b="1" kern="0">
                <a:solidFill>
                  <a:srgbClr val="000000"/>
                </a:solidFill>
              </a:rPr>
              <a:t>Vocational Training Scheme</a:t>
            </a:r>
          </a:p>
        </p:txBody>
      </p:sp>
      <p:sp>
        <p:nvSpPr>
          <p:cNvPr id="95" name="Hexagon 176"/>
          <p:cNvSpPr/>
          <p:nvPr/>
        </p:nvSpPr>
        <p:spPr>
          <a:xfrm>
            <a:off x="3948113" y="3048000"/>
            <a:ext cx="969962" cy="990600"/>
          </a:xfrm>
          <a:prstGeom prst="hexagon">
            <a:avLst>
              <a:gd name="adj" fmla="val 27574"/>
              <a:gd name="vf" fmla="val 115470"/>
            </a:avLst>
          </a:prstGeom>
          <a:solidFill>
            <a:srgbClr val="FFFFFF">
              <a:lumMod val="85000"/>
            </a:srgbClr>
          </a:solidFill>
          <a:ln>
            <a:noFill/>
          </a:ln>
        </p:spPr>
        <p:txBody>
          <a:bodyPr anchor="ctr"/>
          <a:lstStyle/>
          <a:p>
            <a:pPr algn="ctr" rtl="1" eaLnBrk="1" fontAlgn="auto" hangingPunct="1">
              <a:spcBef>
                <a:spcPts val="0"/>
              </a:spcBef>
              <a:spcAft>
                <a:spcPts val="0"/>
              </a:spcAft>
              <a:defRPr/>
            </a:pPr>
            <a:r>
              <a:rPr lang="en-GB" sz="800" b="1" kern="0" dirty="0">
                <a:solidFill>
                  <a:srgbClr val="000000"/>
                </a:solidFill>
              </a:rPr>
              <a:t>Subsidy policy</a:t>
            </a:r>
          </a:p>
        </p:txBody>
      </p:sp>
      <p:sp>
        <p:nvSpPr>
          <p:cNvPr id="96" name="Hexagon 177"/>
          <p:cNvSpPr/>
          <p:nvPr/>
        </p:nvSpPr>
        <p:spPr>
          <a:xfrm>
            <a:off x="4787900" y="4699000"/>
            <a:ext cx="1038225" cy="793750"/>
          </a:xfrm>
          <a:prstGeom prst="hexagon">
            <a:avLst>
              <a:gd name="adj" fmla="val 27574"/>
              <a:gd name="vf" fmla="val 115470"/>
            </a:avLst>
          </a:prstGeom>
          <a:solidFill>
            <a:srgbClr val="FFFFFF">
              <a:lumMod val="85000"/>
            </a:srgbClr>
          </a:solidFill>
          <a:ln>
            <a:noFill/>
          </a:ln>
        </p:spPr>
        <p:txBody>
          <a:bodyPr anchor="ctr"/>
          <a:lstStyle/>
          <a:p>
            <a:pPr algn="ctr" rtl="1" eaLnBrk="1" fontAlgn="auto" hangingPunct="1">
              <a:spcBef>
                <a:spcPts val="0"/>
              </a:spcBef>
              <a:spcAft>
                <a:spcPts val="0"/>
              </a:spcAft>
              <a:defRPr/>
            </a:pPr>
            <a:r>
              <a:rPr lang="en-GB" sz="800" b="1" kern="0" dirty="0">
                <a:solidFill>
                  <a:srgbClr val="000000"/>
                </a:solidFill>
              </a:rPr>
              <a:t>Other Sector Reforms</a:t>
            </a:r>
          </a:p>
        </p:txBody>
      </p:sp>
      <p:sp>
        <p:nvSpPr>
          <p:cNvPr id="97" name="Hexagon 178"/>
          <p:cNvSpPr/>
          <p:nvPr/>
        </p:nvSpPr>
        <p:spPr>
          <a:xfrm>
            <a:off x="3948113" y="1962150"/>
            <a:ext cx="922337" cy="990600"/>
          </a:xfrm>
          <a:prstGeom prst="hexagon">
            <a:avLst>
              <a:gd name="adj" fmla="val 27574"/>
              <a:gd name="vf" fmla="val 115470"/>
            </a:avLst>
          </a:prstGeom>
          <a:solidFill>
            <a:srgbClr val="FFFFFF">
              <a:lumMod val="85000"/>
            </a:srgbClr>
          </a:solidFill>
          <a:ln>
            <a:noFill/>
          </a:ln>
        </p:spPr>
        <p:txBody>
          <a:bodyPr lIns="72000" rIns="72000" anchor="ctr"/>
          <a:lstStyle/>
          <a:p>
            <a:pPr algn="ctr" eaLnBrk="1" fontAlgn="auto" hangingPunct="1">
              <a:spcBef>
                <a:spcPts val="0"/>
              </a:spcBef>
              <a:spcAft>
                <a:spcPts val="0"/>
              </a:spcAft>
              <a:defRPr/>
            </a:pPr>
            <a:r>
              <a:rPr lang="en-GB" sz="800" b="1" kern="0" dirty="0">
                <a:solidFill>
                  <a:srgbClr val="000000"/>
                </a:solidFill>
              </a:rPr>
              <a:t>Social Security Scheme</a:t>
            </a:r>
          </a:p>
        </p:txBody>
      </p:sp>
      <p:sp>
        <p:nvSpPr>
          <p:cNvPr id="98" name="Hexagon 180"/>
          <p:cNvSpPr/>
          <p:nvPr/>
        </p:nvSpPr>
        <p:spPr>
          <a:xfrm>
            <a:off x="5680075" y="5146675"/>
            <a:ext cx="998538" cy="681038"/>
          </a:xfrm>
          <a:prstGeom prst="hexagon">
            <a:avLst>
              <a:gd name="adj" fmla="val 27574"/>
              <a:gd name="vf" fmla="val 115470"/>
            </a:avLst>
          </a:prstGeom>
          <a:solidFill>
            <a:srgbClr val="FFFFFF">
              <a:lumMod val="85000"/>
            </a:srgbClr>
          </a:solidFill>
          <a:ln>
            <a:noFill/>
          </a:ln>
        </p:spPr>
        <p:txBody>
          <a:bodyPr lIns="0" rIns="0" anchor="ctr"/>
          <a:lstStyle/>
          <a:p>
            <a:pPr algn="ctr" rtl="1" eaLnBrk="1" fontAlgn="auto" hangingPunct="1">
              <a:spcBef>
                <a:spcPts val="0"/>
              </a:spcBef>
              <a:spcAft>
                <a:spcPts val="0"/>
              </a:spcAft>
              <a:defRPr/>
            </a:pPr>
            <a:r>
              <a:rPr lang="en-US" sz="900" b="1" kern="0" dirty="0">
                <a:solidFill>
                  <a:srgbClr val="000000"/>
                </a:solidFill>
              </a:rPr>
              <a:t>Public Enterprises</a:t>
            </a:r>
          </a:p>
        </p:txBody>
      </p:sp>
      <p:sp>
        <p:nvSpPr>
          <p:cNvPr id="99" name="Hexagon 181"/>
          <p:cNvSpPr/>
          <p:nvPr/>
        </p:nvSpPr>
        <p:spPr>
          <a:xfrm>
            <a:off x="6473825" y="4573588"/>
            <a:ext cx="1009650" cy="941387"/>
          </a:xfrm>
          <a:prstGeom prst="hexagon">
            <a:avLst>
              <a:gd name="adj" fmla="val 27574"/>
              <a:gd name="vf" fmla="val 115470"/>
            </a:avLst>
          </a:prstGeom>
          <a:solidFill>
            <a:srgbClr val="E51B2E">
              <a:lumMod val="20000"/>
              <a:lumOff val="80000"/>
            </a:srgbClr>
          </a:solidFill>
          <a:ln>
            <a:noFill/>
          </a:ln>
        </p:spPr>
        <p:txBody>
          <a:bodyPr anchor="ctr"/>
          <a:lstStyle/>
          <a:p>
            <a:pPr algn="ctr" defTabSz="457200" eaLnBrk="1" fontAlgn="auto" hangingPunct="1">
              <a:spcBef>
                <a:spcPts val="0"/>
              </a:spcBef>
              <a:spcAft>
                <a:spcPts val="0"/>
              </a:spcAft>
              <a:defRPr/>
            </a:pPr>
            <a:r>
              <a:rPr lang="en-GB" sz="900" b="1" kern="0">
                <a:solidFill>
                  <a:srgbClr val="000000"/>
                </a:solidFill>
              </a:rPr>
              <a:t>Banking Sector</a:t>
            </a:r>
          </a:p>
        </p:txBody>
      </p:sp>
      <p:sp>
        <p:nvSpPr>
          <p:cNvPr id="100" name="Hexagon 183"/>
          <p:cNvSpPr/>
          <p:nvPr/>
        </p:nvSpPr>
        <p:spPr>
          <a:xfrm>
            <a:off x="4019550" y="4116388"/>
            <a:ext cx="989013" cy="990600"/>
          </a:xfrm>
          <a:prstGeom prst="hexagon">
            <a:avLst>
              <a:gd name="adj" fmla="val 27574"/>
              <a:gd name="vf" fmla="val 115470"/>
            </a:avLst>
          </a:prstGeom>
          <a:solidFill>
            <a:srgbClr val="E51B2E">
              <a:lumMod val="20000"/>
              <a:lumOff val="80000"/>
            </a:srgbClr>
          </a:solidFill>
          <a:ln>
            <a:noFill/>
          </a:ln>
        </p:spPr>
        <p:txBody>
          <a:bodyPr anchor="ctr"/>
          <a:lstStyle/>
          <a:p>
            <a:pPr algn="ctr" rtl="1" eaLnBrk="1" fontAlgn="auto" hangingPunct="1">
              <a:spcBef>
                <a:spcPts val="0"/>
              </a:spcBef>
              <a:spcAft>
                <a:spcPts val="0"/>
              </a:spcAft>
              <a:defRPr/>
            </a:pPr>
            <a:r>
              <a:rPr lang="en-GB" sz="800" b="1" kern="0">
                <a:solidFill>
                  <a:srgbClr val="000000"/>
                </a:solidFill>
              </a:rPr>
              <a:t>Health System</a:t>
            </a:r>
          </a:p>
        </p:txBody>
      </p:sp>
      <p:grpSp>
        <p:nvGrpSpPr>
          <p:cNvPr id="151577" name="Groupe 43"/>
          <p:cNvGrpSpPr>
            <a:grpSpLocks/>
          </p:cNvGrpSpPr>
          <p:nvPr/>
        </p:nvGrpSpPr>
        <p:grpSpPr bwMode="auto">
          <a:xfrm>
            <a:off x="8024813" y="5670550"/>
            <a:ext cx="179387" cy="209550"/>
            <a:chOff x="7821637" y="2504050"/>
            <a:chExt cx="365760" cy="365759"/>
          </a:xfrm>
        </p:grpSpPr>
        <p:cxnSp>
          <p:nvCxnSpPr>
            <p:cNvPr id="151627" name="Connecteur droit 101"/>
            <p:cNvCxnSpPr>
              <a:cxnSpLocks noChangeShapeType="1"/>
            </p:cNvCxnSpPr>
            <p:nvPr/>
          </p:nvCxnSpPr>
          <p:spPr bwMode="auto">
            <a:xfrm>
              <a:off x="7821637" y="2700785"/>
              <a:ext cx="126235" cy="169024"/>
            </a:xfrm>
            <a:prstGeom prst="line">
              <a:avLst/>
            </a:prstGeom>
            <a:noFill/>
            <a:ln w="28575" algn="ctr">
              <a:solidFill>
                <a:srgbClr val="00B050"/>
              </a:solidFill>
              <a:round/>
              <a:headEnd/>
              <a:tailEnd/>
            </a:ln>
            <a:extLst>
              <a:ext uri="{909E8E84-426E-40DD-AFC4-6F175D3DCCD1}">
                <a14:hiddenFill xmlns:a14="http://schemas.microsoft.com/office/drawing/2010/main">
                  <a:noFill/>
                </a14:hiddenFill>
              </a:ext>
            </a:extLst>
          </p:spPr>
        </p:cxnSp>
        <p:cxnSp>
          <p:nvCxnSpPr>
            <p:cNvPr id="151628" name="Connecteur droit 102"/>
            <p:cNvCxnSpPr>
              <a:cxnSpLocks noChangeShapeType="1"/>
            </p:cNvCxnSpPr>
            <p:nvPr/>
          </p:nvCxnSpPr>
          <p:spPr bwMode="auto">
            <a:xfrm flipV="1">
              <a:off x="7934925" y="2504050"/>
              <a:ext cx="252472" cy="351905"/>
            </a:xfrm>
            <a:prstGeom prst="line">
              <a:avLst/>
            </a:prstGeom>
            <a:noFill/>
            <a:ln w="34925" algn="ctr">
              <a:solidFill>
                <a:srgbClr val="00B050"/>
              </a:solidFill>
              <a:round/>
              <a:headEnd/>
              <a:tailEnd/>
            </a:ln>
            <a:extLst>
              <a:ext uri="{909E8E84-426E-40DD-AFC4-6F175D3DCCD1}">
                <a14:hiddenFill xmlns:a14="http://schemas.microsoft.com/office/drawing/2010/main">
                  <a:noFill/>
                </a14:hiddenFill>
              </a:ext>
            </a:extLst>
          </p:spPr>
        </p:cxnSp>
      </p:grpSp>
      <p:sp>
        <p:nvSpPr>
          <p:cNvPr id="151578" name="ZoneTexte 48"/>
          <p:cNvSpPr txBox="1">
            <a:spLocks noChangeArrowheads="1"/>
          </p:cNvSpPr>
          <p:nvPr/>
        </p:nvSpPr>
        <p:spPr bwMode="auto">
          <a:xfrm>
            <a:off x="6940550" y="5654675"/>
            <a:ext cx="103981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Clr>
                <a:srgbClr val="00B050"/>
              </a:buClr>
              <a:buSzPct val="200000"/>
              <a:buFontTx/>
              <a:buNone/>
            </a:pPr>
            <a:r>
              <a:rPr lang="fr-FR" altLang="fr-FR" sz="1200" b="1">
                <a:solidFill>
                  <a:srgbClr val="000000"/>
                </a:solidFill>
                <a:latin typeface="Simplified Arabic" panose="02020603050405020304" pitchFamily="18" charset="-78"/>
                <a:cs typeface="Simplified Arabic" panose="02020603050405020304" pitchFamily="18" charset="-78"/>
              </a:rPr>
              <a:t>Completed</a:t>
            </a:r>
          </a:p>
        </p:txBody>
      </p:sp>
      <p:sp>
        <p:nvSpPr>
          <p:cNvPr id="151579" name="ZoneTexte 52"/>
          <p:cNvSpPr txBox="1">
            <a:spLocks noChangeArrowheads="1"/>
          </p:cNvSpPr>
          <p:nvPr/>
        </p:nvSpPr>
        <p:spPr bwMode="auto">
          <a:xfrm>
            <a:off x="6765925" y="5868988"/>
            <a:ext cx="12271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r" eaLnBrk="1" hangingPunct="1">
              <a:spcBef>
                <a:spcPct val="0"/>
              </a:spcBef>
              <a:buClr>
                <a:srgbClr val="00B050"/>
              </a:buClr>
              <a:buSzPct val="200000"/>
              <a:buFontTx/>
              <a:buNone/>
            </a:pPr>
            <a:r>
              <a:rPr lang="fr-FR" altLang="fr-FR" sz="1200" b="1">
                <a:solidFill>
                  <a:srgbClr val="000000"/>
                </a:solidFill>
                <a:latin typeface="Simplified Arabic" panose="02020603050405020304" pitchFamily="18" charset="-78"/>
                <a:cs typeface="Simplified Arabic" panose="02020603050405020304" pitchFamily="18" charset="-78"/>
              </a:rPr>
              <a:t>Underway</a:t>
            </a:r>
          </a:p>
        </p:txBody>
      </p:sp>
      <p:grpSp>
        <p:nvGrpSpPr>
          <p:cNvPr id="151580" name="Groupe 49"/>
          <p:cNvGrpSpPr>
            <a:grpSpLocks/>
          </p:cNvGrpSpPr>
          <p:nvPr/>
        </p:nvGrpSpPr>
        <p:grpSpPr bwMode="auto">
          <a:xfrm>
            <a:off x="7910513" y="4640263"/>
            <a:ext cx="179387" cy="209550"/>
            <a:chOff x="7821637" y="2504050"/>
            <a:chExt cx="365760" cy="365759"/>
          </a:xfrm>
        </p:grpSpPr>
        <p:cxnSp>
          <p:nvCxnSpPr>
            <p:cNvPr id="151625" name="Connecteur droit 106"/>
            <p:cNvCxnSpPr>
              <a:cxnSpLocks noChangeShapeType="1"/>
            </p:cNvCxnSpPr>
            <p:nvPr/>
          </p:nvCxnSpPr>
          <p:spPr bwMode="auto">
            <a:xfrm>
              <a:off x="7821637" y="2700783"/>
              <a:ext cx="126235" cy="169026"/>
            </a:xfrm>
            <a:prstGeom prst="line">
              <a:avLst/>
            </a:prstGeom>
            <a:noFill/>
            <a:ln w="28575" algn="ctr">
              <a:solidFill>
                <a:srgbClr val="00B050"/>
              </a:solidFill>
              <a:round/>
              <a:headEnd/>
              <a:tailEnd/>
            </a:ln>
            <a:extLst>
              <a:ext uri="{909E8E84-426E-40DD-AFC4-6F175D3DCCD1}">
                <a14:hiddenFill xmlns:a14="http://schemas.microsoft.com/office/drawing/2010/main">
                  <a:noFill/>
                </a14:hiddenFill>
              </a:ext>
            </a:extLst>
          </p:spPr>
        </p:cxnSp>
        <p:cxnSp>
          <p:nvCxnSpPr>
            <p:cNvPr id="151626" name="Connecteur droit 107"/>
            <p:cNvCxnSpPr>
              <a:cxnSpLocks noChangeShapeType="1"/>
            </p:cNvCxnSpPr>
            <p:nvPr/>
          </p:nvCxnSpPr>
          <p:spPr bwMode="auto">
            <a:xfrm flipV="1">
              <a:off x="7934925" y="2504050"/>
              <a:ext cx="252472" cy="351904"/>
            </a:xfrm>
            <a:prstGeom prst="line">
              <a:avLst/>
            </a:prstGeom>
            <a:noFill/>
            <a:ln w="34925" algn="ctr">
              <a:solidFill>
                <a:srgbClr val="00B050"/>
              </a:solidFill>
              <a:round/>
              <a:headEnd/>
              <a:tailEnd/>
            </a:ln>
            <a:extLst>
              <a:ext uri="{909E8E84-426E-40DD-AFC4-6F175D3DCCD1}">
                <a14:hiddenFill xmlns:a14="http://schemas.microsoft.com/office/drawing/2010/main">
                  <a:noFill/>
                </a14:hiddenFill>
              </a:ext>
            </a:extLst>
          </p:spPr>
        </p:cxnSp>
      </p:grpSp>
      <p:grpSp>
        <p:nvGrpSpPr>
          <p:cNvPr id="151581" name="Groupe 69"/>
          <p:cNvGrpSpPr>
            <a:grpSpLocks/>
          </p:cNvGrpSpPr>
          <p:nvPr/>
        </p:nvGrpSpPr>
        <p:grpSpPr bwMode="auto">
          <a:xfrm>
            <a:off x="6227763" y="4786313"/>
            <a:ext cx="179387" cy="209550"/>
            <a:chOff x="7861493" y="2825266"/>
            <a:chExt cx="365760" cy="365759"/>
          </a:xfrm>
        </p:grpSpPr>
        <p:cxnSp>
          <p:nvCxnSpPr>
            <p:cNvPr id="151623" name="Connecteur droit 109"/>
            <p:cNvCxnSpPr>
              <a:cxnSpLocks noChangeShapeType="1"/>
            </p:cNvCxnSpPr>
            <p:nvPr/>
          </p:nvCxnSpPr>
          <p:spPr bwMode="auto">
            <a:xfrm>
              <a:off x="7861493" y="3021999"/>
              <a:ext cx="126235" cy="169026"/>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24" name="Connecteur droit 110"/>
            <p:cNvCxnSpPr>
              <a:cxnSpLocks noChangeShapeType="1"/>
            </p:cNvCxnSpPr>
            <p:nvPr/>
          </p:nvCxnSpPr>
          <p:spPr bwMode="auto">
            <a:xfrm flipV="1">
              <a:off x="7974781" y="2825266"/>
              <a:ext cx="252472" cy="351904"/>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82" name="Groupe 81"/>
          <p:cNvGrpSpPr>
            <a:grpSpLocks/>
          </p:cNvGrpSpPr>
          <p:nvPr/>
        </p:nvGrpSpPr>
        <p:grpSpPr bwMode="auto">
          <a:xfrm>
            <a:off x="7189787" y="2020888"/>
            <a:ext cx="179387" cy="209550"/>
            <a:chOff x="7861493" y="2825266"/>
            <a:chExt cx="365760" cy="365759"/>
          </a:xfrm>
        </p:grpSpPr>
        <p:cxnSp>
          <p:nvCxnSpPr>
            <p:cNvPr id="151621" name="Connecteur droit 112"/>
            <p:cNvCxnSpPr>
              <a:cxnSpLocks noChangeShapeType="1"/>
            </p:cNvCxnSpPr>
            <p:nvPr/>
          </p:nvCxnSpPr>
          <p:spPr bwMode="auto">
            <a:xfrm>
              <a:off x="7861493" y="3021999"/>
              <a:ext cx="126235" cy="169026"/>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22" name="Connecteur droit 113"/>
            <p:cNvCxnSpPr>
              <a:cxnSpLocks noChangeShapeType="1"/>
            </p:cNvCxnSpPr>
            <p:nvPr/>
          </p:nvCxnSpPr>
          <p:spPr bwMode="auto">
            <a:xfrm flipV="1">
              <a:off x="7974781" y="2825266"/>
              <a:ext cx="252472" cy="351904"/>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83" name="Groupe 43"/>
          <p:cNvGrpSpPr>
            <a:grpSpLocks/>
          </p:cNvGrpSpPr>
          <p:nvPr/>
        </p:nvGrpSpPr>
        <p:grpSpPr bwMode="auto">
          <a:xfrm>
            <a:off x="7832725" y="3738563"/>
            <a:ext cx="179388" cy="209550"/>
            <a:chOff x="7821637" y="2504050"/>
            <a:chExt cx="365760" cy="365759"/>
          </a:xfrm>
        </p:grpSpPr>
        <p:cxnSp>
          <p:nvCxnSpPr>
            <p:cNvPr id="151619" name="Connecteur droit 115"/>
            <p:cNvCxnSpPr>
              <a:cxnSpLocks noChangeShapeType="1"/>
            </p:cNvCxnSpPr>
            <p:nvPr/>
          </p:nvCxnSpPr>
          <p:spPr bwMode="auto">
            <a:xfrm>
              <a:off x="7821637" y="2700783"/>
              <a:ext cx="126236" cy="169026"/>
            </a:xfrm>
            <a:prstGeom prst="line">
              <a:avLst/>
            </a:prstGeom>
            <a:noFill/>
            <a:ln w="28575" algn="ctr">
              <a:solidFill>
                <a:srgbClr val="00B050"/>
              </a:solidFill>
              <a:round/>
              <a:headEnd/>
              <a:tailEnd/>
            </a:ln>
            <a:extLst>
              <a:ext uri="{909E8E84-426E-40DD-AFC4-6F175D3DCCD1}">
                <a14:hiddenFill xmlns:a14="http://schemas.microsoft.com/office/drawing/2010/main">
                  <a:noFill/>
                </a14:hiddenFill>
              </a:ext>
            </a:extLst>
          </p:spPr>
        </p:cxnSp>
        <p:cxnSp>
          <p:nvCxnSpPr>
            <p:cNvPr id="151620" name="Connecteur droit 116"/>
            <p:cNvCxnSpPr>
              <a:cxnSpLocks noChangeShapeType="1"/>
            </p:cNvCxnSpPr>
            <p:nvPr/>
          </p:nvCxnSpPr>
          <p:spPr bwMode="auto">
            <a:xfrm flipV="1">
              <a:off x="7934926" y="2504050"/>
              <a:ext cx="252471" cy="351904"/>
            </a:xfrm>
            <a:prstGeom prst="line">
              <a:avLst/>
            </a:prstGeom>
            <a:noFill/>
            <a:ln w="34925" algn="ctr">
              <a:solidFill>
                <a:srgbClr val="00B050"/>
              </a:solidFill>
              <a:round/>
              <a:headEnd/>
              <a:tailEnd/>
            </a:ln>
            <a:extLst>
              <a:ext uri="{909E8E84-426E-40DD-AFC4-6F175D3DCCD1}">
                <a14:hiddenFill xmlns:a14="http://schemas.microsoft.com/office/drawing/2010/main">
                  <a:noFill/>
                </a14:hiddenFill>
              </a:ext>
            </a:extLst>
          </p:spPr>
        </p:cxnSp>
      </p:grpSp>
      <p:sp>
        <p:nvSpPr>
          <p:cNvPr id="118" name="Hexagon 180"/>
          <p:cNvSpPr/>
          <p:nvPr/>
        </p:nvSpPr>
        <p:spPr>
          <a:xfrm>
            <a:off x="7210425" y="2039938"/>
            <a:ext cx="1139825" cy="898525"/>
          </a:xfrm>
          <a:prstGeom prst="hexagon">
            <a:avLst>
              <a:gd name="adj" fmla="val 27574"/>
              <a:gd name="vf" fmla="val 115470"/>
            </a:avLst>
          </a:prstGeom>
          <a:solidFill>
            <a:srgbClr val="B0CA91">
              <a:lumMod val="40000"/>
              <a:lumOff val="60000"/>
            </a:srgbClr>
          </a:solidFill>
          <a:ln>
            <a:noFill/>
          </a:ln>
        </p:spPr>
        <p:txBody>
          <a:bodyPr lIns="0" rIns="0" anchor="ctr"/>
          <a:lstStyle/>
          <a:p>
            <a:pPr algn="ctr" eaLnBrk="1" fontAlgn="auto" hangingPunct="1">
              <a:spcBef>
                <a:spcPts val="0"/>
              </a:spcBef>
              <a:spcAft>
                <a:spcPts val="0"/>
              </a:spcAft>
              <a:defRPr/>
            </a:pPr>
            <a:r>
              <a:rPr lang="en-GB" sz="900" b="1" kern="0" dirty="0">
                <a:solidFill>
                  <a:srgbClr val="000000"/>
                </a:solidFill>
              </a:rPr>
              <a:t>Competition law</a:t>
            </a:r>
          </a:p>
        </p:txBody>
      </p:sp>
      <p:grpSp>
        <p:nvGrpSpPr>
          <p:cNvPr id="151585" name="Groupe 43"/>
          <p:cNvGrpSpPr>
            <a:grpSpLocks/>
          </p:cNvGrpSpPr>
          <p:nvPr/>
        </p:nvGrpSpPr>
        <p:grpSpPr bwMode="auto">
          <a:xfrm>
            <a:off x="7853363" y="2632075"/>
            <a:ext cx="179387" cy="209550"/>
            <a:chOff x="7821637" y="2504050"/>
            <a:chExt cx="365760" cy="365759"/>
          </a:xfrm>
        </p:grpSpPr>
        <p:cxnSp>
          <p:nvCxnSpPr>
            <p:cNvPr id="151617" name="Connecteur droit 119"/>
            <p:cNvCxnSpPr>
              <a:cxnSpLocks noChangeShapeType="1"/>
            </p:cNvCxnSpPr>
            <p:nvPr/>
          </p:nvCxnSpPr>
          <p:spPr bwMode="auto">
            <a:xfrm>
              <a:off x="7821637" y="2700785"/>
              <a:ext cx="126235" cy="169024"/>
            </a:xfrm>
            <a:prstGeom prst="line">
              <a:avLst/>
            </a:prstGeom>
            <a:noFill/>
            <a:ln w="28575" algn="ctr">
              <a:solidFill>
                <a:srgbClr val="00B050"/>
              </a:solidFill>
              <a:round/>
              <a:headEnd/>
              <a:tailEnd/>
            </a:ln>
            <a:extLst>
              <a:ext uri="{909E8E84-426E-40DD-AFC4-6F175D3DCCD1}">
                <a14:hiddenFill xmlns:a14="http://schemas.microsoft.com/office/drawing/2010/main">
                  <a:noFill/>
                </a14:hiddenFill>
              </a:ext>
            </a:extLst>
          </p:spPr>
        </p:cxnSp>
        <p:cxnSp>
          <p:nvCxnSpPr>
            <p:cNvPr id="151618" name="Connecteur droit 120"/>
            <p:cNvCxnSpPr>
              <a:cxnSpLocks noChangeShapeType="1"/>
            </p:cNvCxnSpPr>
            <p:nvPr/>
          </p:nvCxnSpPr>
          <p:spPr bwMode="auto">
            <a:xfrm flipV="1">
              <a:off x="7934925" y="2504050"/>
              <a:ext cx="252472" cy="351905"/>
            </a:xfrm>
            <a:prstGeom prst="line">
              <a:avLst/>
            </a:prstGeom>
            <a:noFill/>
            <a:ln w="34925" algn="ctr">
              <a:solidFill>
                <a:srgbClr val="00B050"/>
              </a:solidFill>
              <a:round/>
              <a:headEnd/>
              <a:tailEnd/>
            </a:ln>
            <a:extLst>
              <a:ext uri="{909E8E84-426E-40DD-AFC4-6F175D3DCCD1}">
                <a14:hiddenFill xmlns:a14="http://schemas.microsoft.com/office/drawing/2010/main">
                  <a:noFill/>
                </a14:hiddenFill>
              </a:ext>
            </a:extLst>
          </p:spPr>
        </p:cxnSp>
      </p:grpSp>
      <p:grpSp>
        <p:nvGrpSpPr>
          <p:cNvPr id="151586" name="Groupe 69"/>
          <p:cNvGrpSpPr>
            <a:grpSpLocks/>
          </p:cNvGrpSpPr>
          <p:nvPr/>
        </p:nvGrpSpPr>
        <p:grpSpPr bwMode="auto">
          <a:xfrm>
            <a:off x="6240463" y="3716338"/>
            <a:ext cx="177800" cy="209550"/>
            <a:chOff x="7861493" y="2825266"/>
            <a:chExt cx="365760" cy="365759"/>
          </a:xfrm>
        </p:grpSpPr>
        <p:cxnSp>
          <p:nvCxnSpPr>
            <p:cNvPr id="151615" name="Connecteur droit 122"/>
            <p:cNvCxnSpPr>
              <a:cxnSpLocks noChangeShapeType="1"/>
            </p:cNvCxnSpPr>
            <p:nvPr/>
          </p:nvCxnSpPr>
          <p:spPr bwMode="auto">
            <a:xfrm>
              <a:off x="7861493" y="3021999"/>
              <a:ext cx="127362" cy="169026"/>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16" name="Connecteur droit 123"/>
            <p:cNvCxnSpPr>
              <a:cxnSpLocks noChangeShapeType="1"/>
            </p:cNvCxnSpPr>
            <p:nvPr/>
          </p:nvCxnSpPr>
          <p:spPr bwMode="auto">
            <a:xfrm flipV="1">
              <a:off x="7972527" y="2825266"/>
              <a:ext cx="254726" cy="351904"/>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87" name="Groupe 69"/>
          <p:cNvGrpSpPr>
            <a:grpSpLocks/>
          </p:cNvGrpSpPr>
          <p:nvPr/>
        </p:nvGrpSpPr>
        <p:grpSpPr bwMode="auto">
          <a:xfrm>
            <a:off x="7054850" y="5275263"/>
            <a:ext cx="177800" cy="209550"/>
            <a:chOff x="7861493" y="2825266"/>
            <a:chExt cx="365760" cy="365759"/>
          </a:xfrm>
        </p:grpSpPr>
        <p:cxnSp>
          <p:nvCxnSpPr>
            <p:cNvPr id="151613" name="Connecteur droit 125"/>
            <p:cNvCxnSpPr>
              <a:cxnSpLocks noChangeShapeType="1"/>
            </p:cNvCxnSpPr>
            <p:nvPr/>
          </p:nvCxnSpPr>
          <p:spPr bwMode="auto">
            <a:xfrm>
              <a:off x="7861493" y="3021999"/>
              <a:ext cx="127364" cy="169026"/>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14" name="Connecteur droit 126"/>
            <p:cNvCxnSpPr>
              <a:cxnSpLocks noChangeShapeType="1"/>
            </p:cNvCxnSpPr>
            <p:nvPr/>
          </p:nvCxnSpPr>
          <p:spPr bwMode="auto">
            <a:xfrm flipV="1">
              <a:off x="7972527" y="2825266"/>
              <a:ext cx="254726" cy="351904"/>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88" name="Groupe 69"/>
          <p:cNvGrpSpPr>
            <a:grpSpLocks/>
          </p:cNvGrpSpPr>
          <p:nvPr/>
        </p:nvGrpSpPr>
        <p:grpSpPr bwMode="auto">
          <a:xfrm>
            <a:off x="8040688" y="5864225"/>
            <a:ext cx="179387" cy="211138"/>
            <a:chOff x="7861493" y="2825266"/>
            <a:chExt cx="365760" cy="365759"/>
          </a:xfrm>
        </p:grpSpPr>
        <p:cxnSp>
          <p:nvCxnSpPr>
            <p:cNvPr id="151611" name="Connecteur droit 128"/>
            <p:cNvCxnSpPr>
              <a:cxnSpLocks noChangeShapeType="1"/>
            </p:cNvCxnSpPr>
            <p:nvPr/>
          </p:nvCxnSpPr>
          <p:spPr bwMode="auto">
            <a:xfrm>
              <a:off x="7861493" y="3023270"/>
              <a:ext cx="126235" cy="167755"/>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12" name="Connecteur droit 129"/>
            <p:cNvCxnSpPr>
              <a:cxnSpLocks noChangeShapeType="1"/>
            </p:cNvCxnSpPr>
            <p:nvPr/>
          </p:nvCxnSpPr>
          <p:spPr bwMode="auto">
            <a:xfrm flipV="1">
              <a:off x="7974781" y="2825266"/>
              <a:ext cx="252472" cy="352008"/>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89" name="Groupe 69"/>
          <p:cNvGrpSpPr>
            <a:grpSpLocks/>
          </p:cNvGrpSpPr>
          <p:nvPr/>
        </p:nvGrpSpPr>
        <p:grpSpPr bwMode="auto">
          <a:xfrm>
            <a:off x="5410200" y="2176463"/>
            <a:ext cx="177800" cy="209550"/>
            <a:chOff x="7861493" y="2825266"/>
            <a:chExt cx="365760" cy="365759"/>
          </a:xfrm>
        </p:grpSpPr>
        <p:cxnSp>
          <p:nvCxnSpPr>
            <p:cNvPr id="151609" name="Connecteur droit 131"/>
            <p:cNvCxnSpPr>
              <a:cxnSpLocks noChangeShapeType="1"/>
            </p:cNvCxnSpPr>
            <p:nvPr/>
          </p:nvCxnSpPr>
          <p:spPr bwMode="auto">
            <a:xfrm>
              <a:off x="7861493" y="3021999"/>
              <a:ext cx="127364" cy="169026"/>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10" name="Connecteur droit 132"/>
            <p:cNvCxnSpPr>
              <a:cxnSpLocks noChangeShapeType="1"/>
            </p:cNvCxnSpPr>
            <p:nvPr/>
          </p:nvCxnSpPr>
          <p:spPr bwMode="auto">
            <a:xfrm flipV="1">
              <a:off x="7972527" y="2825266"/>
              <a:ext cx="254726" cy="351904"/>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90" name="Groupe 69"/>
          <p:cNvGrpSpPr>
            <a:grpSpLocks/>
          </p:cNvGrpSpPr>
          <p:nvPr/>
        </p:nvGrpSpPr>
        <p:grpSpPr bwMode="auto">
          <a:xfrm>
            <a:off x="6242050" y="2667000"/>
            <a:ext cx="179388" cy="209550"/>
            <a:chOff x="7861493" y="2825266"/>
            <a:chExt cx="365760" cy="365759"/>
          </a:xfrm>
        </p:grpSpPr>
        <p:cxnSp>
          <p:nvCxnSpPr>
            <p:cNvPr id="151607" name="Connecteur droit 134"/>
            <p:cNvCxnSpPr>
              <a:cxnSpLocks noChangeShapeType="1"/>
            </p:cNvCxnSpPr>
            <p:nvPr/>
          </p:nvCxnSpPr>
          <p:spPr bwMode="auto">
            <a:xfrm>
              <a:off x="7861493" y="3022001"/>
              <a:ext cx="126236" cy="169024"/>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08" name="Connecteur droit 135"/>
            <p:cNvCxnSpPr>
              <a:cxnSpLocks noChangeShapeType="1"/>
            </p:cNvCxnSpPr>
            <p:nvPr/>
          </p:nvCxnSpPr>
          <p:spPr bwMode="auto">
            <a:xfrm flipV="1">
              <a:off x="7974782" y="2825266"/>
              <a:ext cx="252471" cy="351905"/>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91" name="Groupe 69"/>
          <p:cNvGrpSpPr>
            <a:grpSpLocks/>
          </p:cNvGrpSpPr>
          <p:nvPr/>
        </p:nvGrpSpPr>
        <p:grpSpPr bwMode="auto">
          <a:xfrm>
            <a:off x="4564063" y="4795838"/>
            <a:ext cx="177800" cy="209550"/>
            <a:chOff x="7861493" y="2825266"/>
            <a:chExt cx="365760" cy="365759"/>
          </a:xfrm>
        </p:grpSpPr>
        <p:cxnSp>
          <p:nvCxnSpPr>
            <p:cNvPr id="151605" name="Connecteur droit 137"/>
            <p:cNvCxnSpPr>
              <a:cxnSpLocks noChangeShapeType="1"/>
            </p:cNvCxnSpPr>
            <p:nvPr/>
          </p:nvCxnSpPr>
          <p:spPr bwMode="auto">
            <a:xfrm>
              <a:off x="7861493" y="3021999"/>
              <a:ext cx="127362" cy="169026"/>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06" name="Connecteur droit 138"/>
            <p:cNvCxnSpPr>
              <a:cxnSpLocks noChangeShapeType="1"/>
            </p:cNvCxnSpPr>
            <p:nvPr/>
          </p:nvCxnSpPr>
          <p:spPr bwMode="auto">
            <a:xfrm flipV="1">
              <a:off x="7972527" y="2825266"/>
              <a:ext cx="254726" cy="351904"/>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92" name="Groupe 69"/>
          <p:cNvGrpSpPr>
            <a:grpSpLocks/>
          </p:cNvGrpSpPr>
          <p:nvPr/>
        </p:nvGrpSpPr>
        <p:grpSpPr bwMode="auto">
          <a:xfrm>
            <a:off x="5437188" y="4168775"/>
            <a:ext cx="179387" cy="209550"/>
            <a:chOff x="7861493" y="2825266"/>
            <a:chExt cx="365760" cy="365759"/>
          </a:xfrm>
        </p:grpSpPr>
        <p:cxnSp>
          <p:nvCxnSpPr>
            <p:cNvPr id="151603" name="Connecteur droit 140"/>
            <p:cNvCxnSpPr>
              <a:cxnSpLocks noChangeShapeType="1"/>
            </p:cNvCxnSpPr>
            <p:nvPr/>
          </p:nvCxnSpPr>
          <p:spPr bwMode="auto">
            <a:xfrm>
              <a:off x="7861493" y="3022001"/>
              <a:ext cx="126235" cy="169024"/>
            </a:xfrm>
            <a:prstGeom prst="line">
              <a:avLst/>
            </a:prstGeom>
            <a:noFill/>
            <a:ln w="28575" algn="ctr">
              <a:solidFill>
                <a:srgbClr val="00B050"/>
              </a:solidFill>
              <a:prstDash val="sysDot"/>
              <a:round/>
              <a:headEnd/>
              <a:tailEnd/>
            </a:ln>
            <a:extLst>
              <a:ext uri="{909E8E84-426E-40DD-AFC4-6F175D3DCCD1}">
                <a14:hiddenFill xmlns:a14="http://schemas.microsoft.com/office/drawing/2010/main">
                  <a:noFill/>
                </a14:hiddenFill>
              </a:ext>
            </a:extLst>
          </p:spPr>
        </p:cxnSp>
        <p:cxnSp>
          <p:nvCxnSpPr>
            <p:cNvPr id="151604" name="Connecteur droit 141"/>
            <p:cNvCxnSpPr>
              <a:cxnSpLocks noChangeShapeType="1"/>
            </p:cNvCxnSpPr>
            <p:nvPr/>
          </p:nvCxnSpPr>
          <p:spPr bwMode="auto">
            <a:xfrm flipV="1">
              <a:off x="7974781" y="2825266"/>
              <a:ext cx="252472" cy="351905"/>
            </a:xfrm>
            <a:prstGeom prst="line">
              <a:avLst/>
            </a:prstGeom>
            <a:noFill/>
            <a:ln w="34925" algn="ctr">
              <a:solidFill>
                <a:srgbClr val="00B050"/>
              </a:solidFill>
              <a:prstDash val="sysDot"/>
              <a:round/>
              <a:headEnd/>
              <a:tailEnd/>
            </a:ln>
            <a:extLst>
              <a:ext uri="{909E8E84-426E-40DD-AFC4-6F175D3DCCD1}">
                <a14:hiddenFill xmlns:a14="http://schemas.microsoft.com/office/drawing/2010/main">
                  <a:noFill/>
                </a14:hiddenFill>
              </a:ext>
            </a:extLst>
          </p:spPr>
        </p:cxnSp>
      </p:grpSp>
      <p:grpSp>
        <p:nvGrpSpPr>
          <p:cNvPr id="151593" name="Groupe 43"/>
          <p:cNvGrpSpPr>
            <a:grpSpLocks/>
          </p:cNvGrpSpPr>
          <p:nvPr/>
        </p:nvGrpSpPr>
        <p:grpSpPr bwMode="auto">
          <a:xfrm>
            <a:off x="6961188" y="3249613"/>
            <a:ext cx="179387" cy="209550"/>
            <a:chOff x="7821637" y="2504050"/>
            <a:chExt cx="365760" cy="365759"/>
          </a:xfrm>
        </p:grpSpPr>
        <p:cxnSp>
          <p:nvCxnSpPr>
            <p:cNvPr id="151601" name="Connecteur droit 143"/>
            <p:cNvCxnSpPr>
              <a:cxnSpLocks noChangeShapeType="1"/>
            </p:cNvCxnSpPr>
            <p:nvPr/>
          </p:nvCxnSpPr>
          <p:spPr bwMode="auto">
            <a:xfrm>
              <a:off x="7821637" y="2700783"/>
              <a:ext cx="126235" cy="169026"/>
            </a:xfrm>
            <a:prstGeom prst="line">
              <a:avLst/>
            </a:prstGeom>
            <a:noFill/>
            <a:ln w="28575" algn="ctr">
              <a:solidFill>
                <a:srgbClr val="00B050"/>
              </a:solidFill>
              <a:round/>
              <a:headEnd/>
              <a:tailEnd/>
            </a:ln>
            <a:extLst>
              <a:ext uri="{909E8E84-426E-40DD-AFC4-6F175D3DCCD1}">
                <a14:hiddenFill xmlns:a14="http://schemas.microsoft.com/office/drawing/2010/main">
                  <a:noFill/>
                </a14:hiddenFill>
              </a:ext>
            </a:extLst>
          </p:spPr>
        </p:cxnSp>
        <p:cxnSp>
          <p:nvCxnSpPr>
            <p:cNvPr id="151602" name="Connecteur droit 144"/>
            <p:cNvCxnSpPr>
              <a:cxnSpLocks noChangeShapeType="1"/>
            </p:cNvCxnSpPr>
            <p:nvPr/>
          </p:nvCxnSpPr>
          <p:spPr bwMode="auto">
            <a:xfrm flipV="1">
              <a:off x="7934925" y="2504050"/>
              <a:ext cx="252472" cy="351904"/>
            </a:xfrm>
            <a:prstGeom prst="line">
              <a:avLst/>
            </a:prstGeom>
            <a:noFill/>
            <a:ln w="34925" algn="ctr">
              <a:solidFill>
                <a:srgbClr val="00B050"/>
              </a:solidFill>
              <a:round/>
              <a:headEnd/>
              <a:tailEnd/>
            </a:ln>
            <a:extLst>
              <a:ext uri="{909E8E84-426E-40DD-AFC4-6F175D3DCCD1}">
                <a14:hiddenFill xmlns:a14="http://schemas.microsoft.com/office/drawing/2010/main">
                  <a:noFill/>
                </a14:hiddenFill>
              </a:ext>
            </a:extLst>
          </p:spPr>
        </p:cxnSp>
      </p:grpSp>
      <p:grpSp>
        <p:nvGrpSpPr>
          <p:cNvPr id="151594" name="Groupe 43"/>
          <p:cNvGrpSpPr>
            <a:grpSpLocks/>
          </p:cNvGrpSpPr>
          <p:nvPr/>
        </p:nvGrpSpPr>
        <p:grpSpPr bwMode="auto">
          <a:xfrm>
            <a:off x="7072313" y="4262438"/>
            <a:ext cx="179387" cy="209550"/>
            <a:chOff x="7821637" y="2504050"/>
            <a:chExt cx="365760" cy="365759"/>
          </a:xfrm>
        </p:grpSpPr>
        <p:cxnSp>
          <p:nvCxnSpPr>
            <p:cNvPr id="151599" name="Connecteur droit 146"/>
            <p:cNvCxnSpPr>
              <a:cxnSpLocks noChangeShapeType="1"/>
            </p:cNvCxnSpPr>
            <p:nvPr/>
          </p:nvCxnSpPr>
          <p:spPr bwMode="auto">
            <a:xfrm>
              <a:off x="7821637" y="2700783"/>
              <a:ext cx="126235" cy="169026"/>
            </a:xfrm>
            <a:prstGeom prst="line">
              <a:avLst/>
            </a:prstGeom>
            <a:noFill/>
            <a:ln w="28575" algn="ctr">
              <a:solidFill>
                <a:srgbClr val="00B050"/>
              </a:solidFill>
              <a:round/>
              <a:headEnd/>
              <a:tailEnd/>
            </a:ln>
            <a:extLst>
              <a:ext uri="{909E8E84-426E-40DD-AFC4-6F175D3DCCD1}">
                <a14:hiddenFill xmlns:a14="http://schemas.microsoft.com/office/drawing/2010/main">
                  <a:noFill/>
                </a14:hiddenFill>
              </a:ext>
            </a:extLst>
          </p:spPr>
        </p:cxnSp>
        <p:cxnSp>
          <p:nvCxnSpPr>
            <p:cNvPr id="151600" name="Connecteur droit 147"/>
            <p:cNvCxnSpPr>
              <a:cxnSpLocks noChangeShapeType="1"/>
            </p:cNvCxnSpPr>
            <p:nvPr/>
          </p:nvCxnSpPr>
          <p:spPr bwMode="auto">
            <a:xfrm flipV="1">
              <a:off x="7934925" y="2504050"/>
              <a:ext cx="252472" cy="351904"/>
            </a:xfrm>
            <a:prstGeom prst="line">
              <a:avLst/>
            </a:prstGeom>
            <a:noFill/>
            <a:ln w="34925" algn="ctr">
              <a:solidFill>
                <a:srgbClr val="00B050"/>
              </a:solidFill>
              <a:round/>
              <a:headEnd/>
              <a:tailEnd/>
            </a:ln>
            <a:extLst>
              <a:ext uri="{909E8E84-426E-40DD-AFC4-6F175D3DCCD1}">
                <a14:hiddenFill xmlns:a14="http://schemas.microsoft.com/office/drawing/2010/main">
                  <a:noFill/>
                </a14:hiddenFill>
              </a:ext>
            </a:extLst>
          </p:spPr>
        </p:cxnSp>
      </p:grpSp>
      <p:sp>
        <p:nvSpPr>
          <p:cNvPr id="149" name="ZoneTexte 18"/>
          <p:cNvSpPr txBox="1">
            <a:spLocks noChangeArrowheads="1"/>
          </p:cNvSpPr>
          <p:nvPr/>
        </p:nvSpPr>
        <p:spPr bwMode="auto">
          <a:xfrm>
            <a:off x="7366000" y="3260725"/>
            <a:ext cx="8969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r>
              <a:rPr lang="fr-FR" sz="900" b="1" kern="0" smtClean="0">
                <a:solidFill>
                  <a:srgbClr val="000000"/>
                </a:solidFill>
              </a:rPr>
              <a:t>Public </a:t>
            </a:r>
          </a:p>
          <a:p>
            <a:pPr algn="ctr" eaLnBrk="1" fontAlgn="auto" hangingPunct="1">
              <a:spcBef>
                <a:spcPts val="0"/>
              </a:spcBef>
              <a:spcAft>
                <a:spcPts val="0"/>
              </a:spcAft>
              <a:defRPr/>
            </a:pPr>
            <a:r>
              <a:rPr lang="fr-FR" sz="900" b="1" kern="0" smtClean="0">
                <a:solidFill>
                  <a:srgbClr val="000000"/>
                </a:solidFill>
              </a:rPr>
              <a:t>Procurement</a:t>
            </a:r>
          </a:p>
        </p:txBody>
      </p:sp>
      <p:sp>
        <p:nvSpPr>
          <p:cNvPr id="150" name="ZoneTexte 105"/>
          <p:cNvSpPr txBox="1">
            <a:spLocks noChangeArrowheads="1"/>
          </p:cNvSpPr>
          <p:nvPr/>
        </p:nvSpPr>
        <p:spPr bwMode="auto">
          <a:xfrm>
            <a:off x="7375525" y="4144963"/>
            <a:ext cx="8255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lvl="1" algn="ctr" eaLnBrk="1" fontAlgn="auto" hangingPunct="1">
              <a:spcBef>
                <a:spcPts val="0"/>
              </a:spcBef>
              <a:spcAft>
                <a:spcPts val="0"/>
              </a:spcAft>
              <a:defRPr/>
            </a:pPr>
            <a:r>
              <a:rPr lang="en-GB" sz="900" b="1" kern="0" smtClean="0">
                <a:solidFill>
                  <a:srgbClr val="000000"/>
                </a:solidFill>
              </a:rPr>
              <a:t>Public </a:t>
            </a:r>
          </a:p>
          <a:p>
            <a:pPr marL="0" lvl="1" algn="ctr" eaLnBrk="1" fontAlgn="auto" hangingPunct="1">
              <a:spcBef>
                <a:spcPts val="0"/>
              </a:spcBef>
              <a:spcAft>
                <a:spcPts val="0"/>
              </a:spcAft>
              <a:defRPr/>
            </a:pPr>
            <a:r>
              <a:rPr lang="en-GB" sz="900" b="1" kern="0" smtClean="0">
                <a:solidFill>
                  <a:srgbClr val="000000"/>
                </a:solidFill>
              </a:rPr>
              <a:t>Private </a:t>
            </a:r>
          </a:p>
          <a:p>
            <a:pPr marL="0" lvl="1" algn="ctr" eaLnBrk="1" fontAlgn="auto" hangingPunct="1">
              <a:spcBef>
                <a:spcPts val="0"/>
              </a:spcBef>
              <a:spcAft>
                <a:spcPts val="0"/>
              </a:spcAft>
              <a:defRPr/>
            </a:pPr>
            <a:r>
              <a:rPr lang="en-GB" sz="900" b="1" kern="0" smtClean="0">
                <a:solidFill>
                  <a:srgbClr val="000000"/>
                </a:solidFill>
              </a:rPr>
              <a:t>Partnership</a:t>
            </a:r>
          </a:p>
        </p:txBody>
      </p:sp>
      <p:sp>
        <p:nvSpPr>
          <p:cNvPr id="152" name="Rectangle 151"/>
          <p:cNvSpPr/>
          <p:nvPr/>
        </p:nvSpPr>
        <p:spPr>
          <a:xfrm>
            <a:off x="117475" y="1970088"/>
            <a:ext cx="3462338" cy="2800350"/>
          </a:xfrm>
          <a:prstGeom prst="rect">
            <a:avLst/>
          </a:prstGeom>
          <a:solidFill>
            <a:srgbClr val="FFFFFF">
              <a:lumMod val="95000"/>
            </a:srgbClr>
          </a:solidFill>
        </p:spPr>
        <p:txBody>
          <a:bodyPr>
            <a:spAutoFit/>
          </a:bodyPr>
          <a:lstStyle/>
          <a:p>
            <a:pPr algn="ctr" eaLnBrk="1" fontAlgn="auto" hangingPunct="1">
              <a:spcBef>
                <a:spcPts val="0"/>
              </a:spcBef>
              <a:spcAft>
                <a:spcPts val="0"/>
              </a:spcAft>
              <a:defRPr/>
            </a:pPr>
            <a:r>
              <a:rPr lang="en-US" sz="2200" b="1" kern="0" dirty="0">
                <a:solidFill>
                  <a:sysClr val="windowText" lastClr="000000"/>
                </a:solidFill>
                <a:latin typeface="Calibri" pitchFamily="34" charset="0"/>
                <a:cs typeface="Calibri" pitchFamily="34" charset="0"/>
              </a:rPr>
              <a:t>Tunisian Government is pursuing a wide-ranging series of </a:t>
            </a:r>
            <a:r>
              <a:rPr lang="en-US" sz="2200" b="1" kern="0" dirty="0">
                <a:solidFill>
                  <a:srgbClr val="C00000"/>
                </a:solidFill>
                <a:latin typeface="Calibri" pitchFamily="34" charset="0"/>
                <a:cs typeface="Calibri" pitchFamily="34" charset="0"/>
              </a:rPr>
              <a:t>reforms</a:t>
            </a:r>
            <a:r>
              <a:rPr lang="en-US" sz="2200" b="1" kern="0" dirty="0">
                <a:solidFill>
                  <a:sysClr val="windowText" lastClr="000000"/>
                </a:solidFill>
                <a:latin typeface="Calibri" pitchFamily="34" charset="0"/>
                <a:cs typeface="Calibri" pitchFamily="34" charset="0"/>
              </a:rPr>
              <a:t> aimed at boosting efficiency and </a:t>
            </a:r>
            <a:r>
              <a:rPr lang="en-US" sz="2200" b="1" kern="0" dirty="0">
                <a:solidFill>
                  <a:srgbClr val="C00000"/>
                </a:solidFill>
                <a:latin typeface="Calibri" pitchFamily="34" charset="0"/>
                <a:cs typeface="Calibri" pitchFamily="34" charset="0"/>
              </a:rPr>
              <a:t>rising FDIs </a:t>
            </a:r>
            <a:r>
              <a:rPr lang="en-US" sz="2200" b="1" kern="0" dirty="0">
                <a:solidFill>
                  <a:sysClr val="windowText" lastClr="000000"/>
                </a:solidFill>
                <a:latin typeface="Calibri" pitchFamily="34" charset="0"/>
                <a:cs typeface="Calibri" pitchFamily="34" charset="0"/>
              </a:rPr>
              <a:t>in order to put the country on a </a:t>
            </a:r>
            <a:r>
              <a:rPr lang="en-US" sz="2200" b="1" kern="0" dirty="0">
                <a:solidFill>
                  <a:srgbClr val="C00000"/>
                </a:solidFill>
                <a:latin typeface="Calibri" pitchFamily="34" charset="0"/>
                <a:cs typeface="Calibri" pitchFamily="34" charset="0"/>
              </a:rPr>
              <a:t>strong and sustainable </a:t>
            </a:r>
            <a:r>
              <a:rPr lang="en-US" sz="2200" b="1" kern="0" dirty="0">
                <a:solidFill>
                  <a:sysClr val="windowText" lastClr="000000"/>
                </a:solidFill>
                <a:latin typeface="Calibri" pitchFamily="34" charset="0"/>
                <a:cs typeface="Calibri" pitchFamily="34" charset="0"/>
              </a:rPr>
              <a:t>long-term development path</a:t>
            </a:r>
            <a:endParaRPr lang="fr-FR" sz="2200" b="1" kern="0" dirty="0">
              <a:solidFill>
                <a:sysClr val="windowText" lastClr="000000"/>
              </a:solidFill>
              <a:latin typeface="Calibri" pitchFamily="34" charset="0"/>
              <a:cs typeface="Calibri" pitchFamily="34" charset="0"/>
            </a:endParaRPr>
          </a:p>
        </p:txBody>
      </p:sp>
      <p:sp>
        <p:nvSpPr>
          <p:cNvPr id="153" name="Text Placeholder 1"/>
          <p:cNvSpPr txBox="1">
            <a:spLocks noGrp="1"/>
          </p:cNvSpPr>
          <p:nvPr>
            <p:ph type="title"/>
          </p:nvPr>
        </p:nvSpPr>
        <p:spPr>
          <a:ln w="0"/>
        </p:spPr>
        <p:txBody>
          <a:bodyPr lIns="0" tIns="0" rIns="0" bIns="0"/>
          <a:lstStyle/>
          <a:p>
            <a:pPr fontAlgn="auto" hangingPunct="1">
              <a:spcBef>
                <a:spcPts val="0"/>
              </a:spcBef>
              <a:spcAft>
                <a:spcPts val="600"/>
              </a:spcAft>
              <a:buClr>
                <a:srgbClr val="FF0000"/>
              </a:buClr>
              <a:defRPr/>
            </a:pPr>
            <a:r>
              <a:rPr lang="fr-FR" sz="1600" b="1" cap="small" dirty="0" smtClean="0">
                <a:solidFill>
                  <a:schemeClr val="tx2"/>
                </a:solidFill>
                <a:latin typeface="Century Gothic" charset="0"/>
                <a:ea typeface="Century Gothic" charset="0"/>
                <a:cs typeface="Simplified Arabic"/>
              </a:rPr>
              <a:t>   1- </a:t>
            </a:r>
            <a:r>
              <a:rPr lang="fr-FR" sz="2000" b="1" cap="small" dirty="0">
                <a:solidFill>
                  <a:schemeClr val="tx2"/>
                </a:solidFill>
                <a:latin typeface="Century Gothic" charset="0"/>
                <a:ea typeface="Century Gothic" charset="0"/>
                <a:cs typeface="Simplified Arabic"/>
              </a:rPr>
              <a:t>General Background </a:t>
            </a:r>
            <a:r>
              <a:rPr lang="fr-FR" sz="1600" b="1" cap="small" dirty="0">
                <a:solidFill>
                  <a:schemeClr val="tx2"/>
                </a:solidFill>
                <a:latin typeface="Century Gothic" charset="0"/>
                <a:ea typeface="Century Gothic" charset="0"/>
                <a:cs typeface="Simplified Arabic"/>
              </a:rPr>
              <a:t>:  </a:t>
            </a:r>
            <a:br>
              <a:rPr lang="fr-FR" sz="1600" b="1" cap="small" dirty="0">
                <a:solidFill>
                  <a:schemeClr val="tx2"/>
                </a:solidFill>
                <a:latin typeface="Century Gothic" charset="0"/>
                <a:ea typeface="Century Gothic" charset="0"/>
                <a:cs typeface="Simplified Arabic"/>
              </a:rPr>
            </a:br>
            <a:r>
              <a:rPr lang="fr-FR" altLang="ko-KR" sz="1600" cap="small" dirty="0">
                <a:solidFill>
                  <a:schemeClr val="tx2"/>
                </a:solidFill>
                <a:latin typeface="Century Gothic" charset="0"/>
                <a:ea typeface="Century Gothic" charset="0"/>
                <a:cs typeface="Simplified Arabic"/>
              </a:rPr>
              <a:t>        </a:t>
            </a:r>
            <a:r>
              <a:rPr lang="en-US" altLang="ko-KR" sz="1600" cap="small" dirty="0">
                <a:solidFill>
                  <a:schemeClr val="tx2"/>
                </a:solidFill>
                <a:latin typeface="Century Gothic" charset="0"/>
                <a:ea typeface="Century Gothic" charset="0"/>
                <a:cs typeface="Simplified Arabic"/>
              </a:rPr>
              <a:t>Structural, economic and social reforms</a:t>
            </a:r>
            <a:r>
              <a:rPr lang="en-US" altLang="ko-KR" sz="1600" dirty="0">
                <a:solidFill>
                  <a:schemeClr val="tx2"/>
                </a:solidFill>
                <a:latin typeface="Century Gothic" charset="0"/>
                <a:ea typeface="Century Gothic" charset="0"/>
                <a:cs typeface="Simplified Arabic"/>
              </a:rPr>
              <a:t> </a:t>
            </a:r>
            <a:endParaRPr lang="ko-KR" altLang="en-US" sz="1600" dirty="0">
              <a:solidFill>
                <a:schemeClr val="tx2"/>
              </a:solidFill>
              <a:latin typeface="Century Gothic" charset="0"/>
              <a:ea typeface="Century Gothic" charset="0"/>
              <a:cs typeface="Simplified Arabic"/>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 name="Rectangle 130"/>
          <p:cNvSpPr/>
          <p:nvPr/>
        </p:nvSpPr>
        <p:spPr>
          <a:xfrm>
            <a:off x="157163" y="1274763"/>
            <a:ext cx="2155825" cy="868362"/>
          </a:xfrm>
          <a:prstGeom prst="rect">
            <a:avLst/>
          </a:prstGeom>
        </p:spPr>
        <p:txBody>
          <a:bodyPr>
            <a:spAutoFit/>
          </a:bodyPr>
          <a:lstStyle/>
          <a:p>
            <a:pPr algn="ctr" rtl="1" eaLnBrk="1" fontAlgn="auto" hangingPunct="1">
              <a:spcBef>
                <a:spcPct val="20000"/>
              </a:spcBef>
              <a:spcAft>
                <a:spcPts val="0"/>
              </a:spcAft>
              <a:buClr>
                <a:srgbClr val="646464"/>
              </a:buClr>
              <a:buSzPct val="75000"/>
              <a:defRPr/>
            </a:pPr>
            <a:r>
              <a:rPr lang="en-US" sz="1200" b="1" kern="0" dirty="0">
                <a:solidFill>
                  <a:srgbClr val="000000"/>
                </a:solidFill>
              </a:rPr>
              <a:t>Field of intervention of Investment Law: </a:t>
            </a:r>
          </a:p>
          <a:p>
            <a:pPr algn="ctr" rtl="1" eaLnBrk="1" fontAlgn="auto" hangingPunct="1">
              <a:spcBef>
                <a:spcPct val="20000"/>
              </a:spcBef>
              <a:spcAft>
                <a:spcPts val="0"/>
              </a:spcAft>
              <a:buClr>
                <a:srgbClr val="646464"/>
              </a:buClr>
              <a:buSzPct val="75000"/>
              <a:defRPr/>
            </a:pPr>
            <a:r>
              <a:rPr lang="en-US" sz="1200" b="1" kern="0" dirty="0">
                <a:solidFill>
                  <a:srgbClr val="FF0000"/>
                </a:solidFill>
              </a:rPr>
              <a:t>Business climate and incentive framework</a:t>
            </a:r>
          </a:p>
        </p:txBody>
      </p:sp>
      <p:sp>
        <p:nvSpPr>
          <p:cNvPr id="133" name="Text Placeholder 1"/>
          <p:cNvSpPr txBox="1">
            <a:spLocks/>
          </p:cNvSpPr>
          <p:nvPr/>
        </p:nvSpPr>
        <p:spPr bwMode="auto">
          <a:xfrm>
            <a:off x="119063" y="188913"/>
            <a:ext cx="8791575" cy="709612"/>
          </a:xfrm>
          <a:prstGeom prst="rect">
            <a:avLst/>
          </a:prstGeom>
          <a:noFill/>
          <a:ln w="9525">
            <a:noFill/>
            <a:miter lim="800000"/>
            <a:headEnd/>
            <a:tailEnd/>
          </a:ln>
        </p:spPr>
        <p:txBody>
          <a:bodyPr anchor="ctr">
            <a:normAutofit/>
          </a:bodyPr>
          <a:lstStyle/>
          <a:p>
            <a:pPr marL="342900" indent="-342900" eaLnBrk="1" fontAlgn="auto" hangingPunct="1">
              <a:spcBef>
                <a:spcPts val="0"/>
              </a:spcBef>
              <a:spcAft>
                <a:spcPts val="0"/>
              </a:spcAft>
              <a:buFontTx/>
              <a:buAutoNum type="arabicPeriod"/>
              <a:defRPr/>
            </a:pPr>
            <a:r>
              <a:rPr lang="fr-FR" b="1" cap="small" dirty="0">
                <a:solidFill>
                  <a:schemeClr val="tx2"/>
                </a:solidFill>
                <a:latin typeface="Century Gothic" charset="0"/>
                <a:ea typeface="Century Gothic" charset="0"/>
                <a:cs typeface="Simplified Arabic"/>
              </a:rPr>
              <a:t>General Background  </a:t>
            </a:r>
            <a:r>
              <a:rPr lang="fr-FR" b="1" dirty="0">
                <a:solidFill>
                  <a:schemeClr val="tx2"/>
                </a:solidFill>
                <a:latin typeface="Simplified Arabic"/>
                <a:cs typeface="Simplified Arabic"/>
              </a:rPr>
              <a:t>:</a:t>
            </a:r>
            <a:r>
              <a:rPr lang="en-US" sz="1600" dirty="0">
                <a:solidFill>
                  <a:schemeClr val="tx2"/>
                </a:solidFill>
                <a:latin typeface="Century Gothic"/>
                <a:cs typeface="Century Gothic"/>
              </a:rPr>
              <a:t> Investment law is one factor </a:t>
            </a:r>
          </a:p>
          <a:p>
            <a:pPr eaLnBrk="1" fontAlgn="auto" hangingPunct="1">
              <a:spcBef>
                <a:spcPts val="0"/>
              </a:spcBef>
              <a:spcAft>
                <a:spcPts val="0"/>
              </a:spcAft>
              <a:defRPr/>
            </a:pPr>
            <a:r>
              <a:rPr lang="en-US" sz="1600" dirty="0">
                <a:solidFill>
                  <a:schemeClr val="tx2"/>
                </a:solidFill>
                <a:latin typeface="Century Gothic"/>
                <a:cs typeface="Century Gothic"/>
              </a:rPr>
              <a:t>       among others to improve investment attractiveness </a:t>
            </a:r>
          </a:p>
        </p:txBody>
      </p:sp>
      <p:sp>
        <p:nvSpPr>
          <p:cNvPr id="173" name="Freeform 6"/>
          <p:cNvSpPr>
            <a:spLocks/>
          </p:cNvSpPr>
          <p:nvPr/>
        </p:nvSpPr>
        <p:spPr bwMode="auto">
          <a:xfrm>
            <a:off x="4792663" y="2236788"/>
            <a:ext cx="2500312" cy="1704975"/>
          </a:xfrm>
          <a:custGeom>
            <a:avLst/>
            <a:gdLst/>
            <a:ahLst/>
            <a:cxnLst>
              <a:cxn ang="0">
                <a:pos x="0" y="0"/>
              </a:cxn>
              <a:cxn ang="0">
                <a:pos x="2481" y="1432"/>
              </a:cxn>
              <a:cxn ang="0">
                <a:pos x="2481" y="1432"/>
              </a:cxn>
              <a:cxn ang="0">
                <a:pos x="0" y="2864"/>
              </a:cxn>
              <a:cxn ang="0">
                <a:pos x="0" y="0"/>
              </a:cxn>
            </a:cxnLst>
            <a:rect l="0" t="0" r="r" b="b"/>
            <a:pathLst>
              <a:path w="2481" h="2864">
                <a:moveTo>
                  <a:pt x="0" y="0"/>
                </a:moveTo>
                <a:cubicBezTo>
                  <a:pt x="1024" y="0"/>
                  <a:pt x="1969" y="546"/>
                  <a:pt x="2481" y="1432"/>
                </a:cubicBezTo>
                <a:lnTo>
                  <a:pt x="2481" y="1432"/>
                </a:lnTo>
                <a:lnTo>
                  <a:pt x="0" y="2864"/>
                </a:lnTo>
                <a:lnTo>
                  <a:pt x="0" y="0"/>
                </a:lnTo>
                <a:close/>
              </a:path>
            </a:pathLst>
          </a:custGeom>
          <a:solidFill>
            <a:srgbClr val="000000">
              <a:lumMod val="20000"/>
              <a:lumOff val="80000"/>
            </a:srgbClr>
          </a:solidFill>
          <a:ln w="0">
            <a:solidFill>
              <a:srgbClr val="000000"/>
            </a:solidFill>
            <a:prstDash val="solid"/>
            <a:round/>
            <a:headEnd/>
            <a:tailEnd/>
          </a:ln>
          <a:effectLst/>
        </p:spPr>
        <p:txBody>
          <a:bodyPr/>
          <a:lstStyle/>
          <a:p>
            <a:pPr eaLnBrk="1" fontAlgn="auto" hangingPunct="1">
              <a:spcBef>
                <a:spcPts val="0"/>
              </a:spcBef>
              <a:spcAft>
                <a:spcPts val="0"/>
              </a:spcAft>
              <a:defRPr/>
            </a:pPr>
            <a:endParaRPr lang="en-US" sz="1200" b="1" kern="0">
              <a:solidFill>
                <a:srgbClr val="000000"/>
              </a:solidFill>
              <a:latin typeface="Simplified Arabic"/>
              <a:cs typeface="Simplified Arabic"/>
            </a:endParaRPr>
          </a:p>
        </p:txBody>
      </p:sp>
      <p:sp>
        <p:nvSpPr>
          <p:cNvPr id="174" name="Freeform 7"/>
          <p:cNvSpPr>
            <a:spLocks noEditPoints="1"/>
          </p:cNvSpPr>
          <p:nvPr/>
        </p:nvSpPr>
        <p:spPr bwMode="auto">
          <a:xfrm>
            <a:off x="4768850" y="2222500"/>
            <a:ext cx="2547938" cy="1735138"/>
          </a:xfrm>
          <a:custGeom>
            <a:avLst/>
            <a:gdLst>
              <a:gd name="T0" fmla="*/ 0 w 2530"/>
              <a:gd name="T1" fmla="*/ 2147483647 h 2914"/>
              <a:gd name="T2" fmla="*/ 2147483647 w 2530"/>
              <a:gd name="T3" fmla="*/ 1477803458 h 2914"/>
              <a:gd name="T4" fmla="*/ 2147483647 w 2530"/>
              <a:gd name="T5" fmla="*/ 0 h 2914"/>
              <a:gd name="T6" fmla="*/ 2147483647 w 2530"/>
              <a:gd name="T7" fmla="*/ 1266840688 h 2914"/>
              <a:gd name="T8" fmla="*/ 2147483647 w 2530"/>
              <a:gd name="T9" fmla="*/ 2147483647 h 2914"/>
              <a:gd name="T10" fmla="*/ 2147483647 w 2530"/>
              <a:gd name="T11" fmla="*/ 2147483647 h 2914"/>
              <a:gd name="T12" fmla="*/ 2147483647 w 2530"/>
              <a:gd name="T13" fmla="*/ 2147483647 h 2914"/>
              <a:gd name="T14" fmla="*/ 2147483647 w 2530"/>
              <a:gd name="T15" fmla="*/ 2147483647 h 2914"/>
              <a:gd name="T16" fmla="*/ 2147483647 w 2530"/>
              <a:gd name="T17" fmla="*/ 2147483647 h 2914"/>
              <a:gd name="T18" fmla="*/ 2147483647 w 2530"/>
              <a:gd name="T19" fmla="*/ 2147483647 h 2914"/>
              <a:gd name="T20" fmla="*/ 2147483647 w 2530"/>
              <a:gd name="T21" fmla="*/ 2147483647 h 2914"/>
              <a:gd name="T22" fmla="*/ 2147483647 w 2530"/>
              <a:gd name="T23" fmla="*/ 2147483647 h 2914"/>
              <a:gd name="T24" fmla="*/ 2147483647 w 2530"/>
              <a:gd name="T25" fmla="*/ 2147483647 h 2914"/>
              <a:gd name="T26" fmla="*/ 2147483647 w 2530"/>
              <a:gd name="T27" fmla="*/ 2147483647 h 2914"/>
              <a:gd name="T28" fmla="*/ 2147483647 w 2530"/>
              <a:gd name="T29" fmla="*/ 2147483647 h 2914"/>
              <a:gd name="T30" fmla="*/ 2147483647 w 2530"/>
              <a:gd name="T31" fmla="*/ 2147483647 h 2914"/>
              <a:gd name="T32" fmla="*/ 2147483647 w 2530"/>
              <a:gd name="T33" fmla="*/ 2147483647 h 2914"/>
              <a:gd name="T34" fmla="*/ 2147483647 w 2530"/>
              <a:gd name="T35" fmla="*/ 2147483647 h 2914"/>
              <a:gd name="T36" fmla="*/ 2147483647 w 2530"/>
              <a:gd name="T37" fmla="*/ 2147483647 h 2914"/>
              <a:gd name="T38" fmla="*/ 2147483647 w 2530"/>
              <a:gd name="T39" fmla="*/ 2147483647 h 2914"/>
              <a:gd name="T40" fmla="*/ 2147483647 w 2530"/>
              <a:gd name="T41" fmla="*/ 2147483647 h 2914"/>
              <a:gd name="T42" fmla="*/ 2147483647 w 2530"/>
              <a:gd name="T43" fmla="*/ 2147483647 h 2914"/>
              <a:gd name="T44" fmla="*/ 2147483647 w 2530"/>
              <a:gd name="T45" fmla="*/ 2147483647 h 2914"/>
              <a:gd name="T46" fmla="*/ 0 w 2530"/>
              <a:gd name="T47" fmla="*/ 2147483647 h 2914"/>
              <a:gd name="T48" fmla="*/ 0 w 2530"/>
              <a:gd name="T49" fmla="*/ 2147483647 h 2914"/>
              <a:gd name="T50" fmla="*/ 2147483647 w 2530"/>
              <a:gd name="T51" fmla="*/ 2147483647 h 2914"/>
              <a:gd name="T52" fmla="*/ 2147483647 w 2530"/>
              <a:gd name="T53" fmla="*/ 2147483647 h 2914"/>
              <a:gd name="T54" fmla="*/ 2147483647 w 2530"/>
              <a:gd name="T55" fmla="*/ 2147483647 h 2914"/>
              <a:gd name="T56" fmla="*/ 2147483647 w 2530"/>
              <a:gd name="T57" fmla="*/ 2147483647 h 2914"/>
              <a:gd name="T58" fmla="*/ 2147483647 w 2530"/>
              <a:gd name="T59" fmla="*/ 2147483647 h 2914"/>
              <a:gd name="T60" fmla="*/ 2147483647 w 2530"/>
              <a:gd name="T61" fmla="*/ 2147483647 h 2914"/>
              <a:gd name="T62" fmla="*/ 2147483647 w 2530"/>
              <a:gd name="T63" fmla="*/ 2147483647 h 2914"/>
              <a:gd name="T64" fmla="*/ 2147483647 w 2530"/>
              <a:gd name="T65" fmla="*/ 2147483647 h 2914"/>
              <a:gd name="T66" fmla="*/ 2147483647 w 2530"/>
              <a:gd name="T67" fmla="*/ 2147483647 h 2914"/>
              <a:gd name="T68" fmla="*/ 2147483647 w 2530"/>
              <a:gd name="T69" fmla="*/ 2147483647 h 2914"/>
              <a:gd name="T70" fmla="*/ 2147483647 w 2530"/>
              <a:gd name="T71" fmla="*/ 2147483647 h 2914"/>
              <a:gd name="T72" fmla="*/ 2147483647 w 2530"/>
              <a:gd name="T73" fmla="*/ 2147483647 h 2914"/>
              <a:gd name="T74" fmla="*/ 2147483647 w 2530"/>
              <a:gd name="T75" fmla="*/ 2147483647 h 2914"/>
              <a:gd name="T76" fmla="*/ 2147483647 w 2530"/>
              <a:gd name="T77" fmla="*/ 2147483647 h 2914"/>
              <a:gd name="T78" fmla="*/ 2147483647 w 2530"/>
              <a:gd name="T79" fmla="*/ 2147483647 h 2914"/>
              <a:gd name="T80" fmla="*/ 2147483647 w 2530"/>
              <a:gd name="T81" fmla="*/ 2147483647 h 2914"/>
              <a:gd name="T82" fmla="*/ 2147483647 w 2530"/>
              <a:gd name="T83" fmla="*/ 2147483647 h 2914"/>
              <a:gd name="T84" fmla="*/ 2147483647 w 2530"/>
              <a:gd name="T85" fmla="*/ 2147483647 h 2914"/>
              <a:gd name="T86" fmla="*/ 2147483647 w 2530"/>
              <a:gd name="T87" fmla="*/ 2147483647 h 2914"/>
              <a:gd name="T88" fmla="*/ 2147483647 w 2530"/>
              <a:gd name="T89" fmla="*/ 2147483647 h 2914"/>
              <a:gd name="T90" fmla="*/ 2147483647 w 2530"/>
              <a:gd name="T91" fmla="*/ 2147483647 h 2914"/>
              <a:gd name="T92" fmla="*/ 2147483647 w 2530"/>
              <a:gd name="T93" fmla="*/ 2147483647 h 29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30" h="2914">
                <a:moveTo>
                  <a:pt x="0" y="24"/>
                </a:moveTo>
                <a:cubicBezTo>
                  <a:pt x="0" y="18"/>
                  <a:pt x="3" y="12"/>
                  <a:pt x="8" y="7"/>
                </a:cubicBezTo>
                <a:cubicBezTo>
                  <a:pt x="12" y="3"/>
                  <a:pt x="19" y="0"/>
                  <a:pt x="25" y="0"/>
                </a:cubicBezTo>
                <a:lnTo>
                  <a:pt x="216" y="6"/>
                </a:lnTo>
                <a:lnTo>
                  <a:pt x="407" y="26"/>
                </a:lnTo>
                <a:lnTo>
                  <a:pt x="593" y="57"/>
                </a:lnTo>
                <a:lnTo>
                  <a:pt x="778" y="100"/>
                </a:lnTo>
                <a:lnTo>
                  <a:pt x="958" y="156"/>
                </a:lnTo>
                <a:lnTo>
                  <a:pt x="1133" y="221"/>
                </a:lnTo>
                <a:lnTo>
                  <a:pt x="1303" y="299"/>
                </a:lnTo>
                <a:lnTo>
                  <a:pt x="1468" y="387"/>
                </a:lnTo>
                <a:lnTo>
                  <a:pt x="1627" y="486"/>
                </a:lnTo>
                <a:lnTo>
                  <a:pt x="1779" y="595"/>
                </a:lnTo>
                <a:lnTo>
                  <a:pt x="1925" y="713"/>
                </a:lnTo>
                <a:lnTo>
                  <a:pt x="2062" y="841"/>
                </a:lnTo>
                <a:lnTo>
                  <a:pt x="2192" y="979"/>
                </a:lnTo>
                <a:lnTo>
                  <a:pt x="2312" y="1125"/>
                </a:lnTo>
                <a:lnTo>
                  <a:pt x="2424" y="1280"/>
                </a:lnTo>
                <a:lnTo>
                  <a:pt x="2526" y="1444"/>
                </a:lnTo>
                <a:cubicBezTo>
                  <a:pt x="2529" y="1449"/>
                  <a:pt x="2530" y="1456"/>
                  <a:pt x="2529" y="1462"/>
                </a:cubicBezTo>
                <a:cubicBezTo>
                  <a:pt x="2527" y="1469"/>
                  <a:pt x="2523" y="1474"/>
                  <a:pt x="2517" y="1477"/>
                </a:cubicBezTo>
                <a:lnTo>
                  <a:pt x="36" y="2909"/>
                </a:lnTo>
                <a:cubicBezTo>
                  <a:pt x="29" y="2914"/>
                  <a:pt x="20" y="2914"/>
                  <a:pt x="12" y="2909"/>
                </a:cubicBezTo>
                <a:cubicBezTo>
                  <a:pt x="5" y="2905"/>
                  <a:pt x="0" y="2897"/>
                  <a:pt x="0" y="2888"/>
                </a:cubicBezTo>
                <a:lnTo>
                  <a:pt x="0" y="24"/>
                </a:lnTo>
                <a:close/>
                <a:moveTo>
                  <a:pt x="48" y="2888"/>
                </a:moveTo>
                <a:lnTo>
                  <a:pt x="12" y="2868"/>
                </a:lnTo>
                <a:lnTo>
                  <a:pt x="2493" y="1436"/>
                </a:lnTo>
                <a:lnTo>
                  <a:pt x="2485" y="1469"/>
                </a:lnTo>
                <a:lnTo>
                  <a:pt x="2385" y="1309"/>
                </a:lnTo>
                <a:lnTo>
                  <a:pt x="2275" y="1156"/>
                </a:lnTo>
                <a:lnTo>
                  <a:pt x="2157" y="1012"/>
                </a:lnTo>
                <a:lnTo>
                  <a:pt x="2029" y="876"/>
                </a:lnTo>
                <a:lnTo>
                  <a:pt x="1894" y="750"/>
                </a:lnTo>
                <a:lnTo>
                  <a:pt x="1752" y="634"/>
                </a:lnTo>
                <a:lnTo>
                  <a:pt x="1602" y="527"/>
                </a:lnTo>
                <a:lnTo>
                  <a:pt x="1445" y="430"/>
                </a:lnTo>
                <a:lnTo>
                  <a:pt x="1284" y="342"/>
                </a:lnTo>
                <a:lnTo>
                  <a:pt x="1116" y="266"/>
                </a:lnTo>
                <a:lnTo>
                  <a:pt x="943" y="201"/>
                </a:lnTo>
                <a:lnTo>
                  <a:pt x="767" y="147"/>
                </a:lnTo>
                <a:lnTo>
                  <a:pt x="585" y="104"/>
                </a:lnTo>
                <a:lnTo>
                  <a:pt x="402" y="73"/>
                </a:lnTo>
                <a:lnTo>
                  <a:pt x="215" y="54"/>
                </a:lnTo>
                <a:lnTo>
                  <a:pt x="24" y="48"/>
                </a:lnTo>
                <a:lnTo>
                  <a:pt x="48" y="24"/>
                </a:lnTo>
                <a:lnTo>
                  <a:pt x="48" y="2888"/>
                </a:lnTo>
                <a:close/>
              </a:path>
            </a:pathLst>
          </a:custGeom>
          <a:solidFill>
            <a:srgbClr val="FFFFFF"/>
          </a:solidFill>
          <a:ln w="1588" cap="flat">
            <a:solidFill>
              <a:srgbClr val="FFFFFF"/>
            </a:solidFill>
            <a:prstDash val="solid"/>
            <a:round/>
            <a:headEnd/>
            <a:tailEnd/>
          </a:ln>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75" name="Freeform 8"/>
          <p:cNvSpPr>
            <a:spLocks/>
          </p:cNvSpPr>
          <p:nvPr/>
        </p:nvSpPr>
        <p:spPr bwMode="auto">
          <a:xfrm>
            <a:off x="4865688" y="3154363"/>
            <a:ext cx="3022600" cy="1708150"/>
          </a:xfrm>
          <a:custGeom>
            <a:avLst/>
            <a:gdLst/>
            <a:ahLst/>
            <a:cxnLst>
              <a:cxn ang="0">
                <a:pos x="2486" y="0"/>
              </a:cxn>
              <a:cxn ang="0">
                <a:pos x="2486" y="2870"/>
              </a:cxn>
              <a:cxn ang="0">
                <a:pos x="2486" y="2870"/>
              </a:cxn>
              <a:cxn ang="0">
                <a:pos x="0" y="1435"/>
              </a:cxn>
              <a:cxn ang="0">
                <a:pos x="2486" y="0"/>
              </a:cxn>
            </a:cxnLst>
            <a:rect l="0" t="0" r="r" b="b"/>
            <a:pathLst>
              <a:path w="3001" h="2870">
                <a:moveTo>
                  <a:pt x="2486" y="0"/>
                </a:moveTo>
                <a:cubicBezTo>
                  <a:pt x="3001" y="888"/>
                  <a:pt x="3001" y="1983"/>
                  <a:pt x="2486" y="2870"/>
                </a:cubicBezTo>
                <a:lnTo>
                  <a:pt x="2486" y="2870"/>
                </a:lnTo>
                <a:lnTo>
                  <a:pt x="0" y="1435"/>
                </a:lnTo>
                <a:lnTo>
                  <a:pt x="2486" y="0"/>
                </a:lnTo>
                <a:close/>
              </a:path>
            </a:pathLst>
          </a:custGeom>
          <a:solidFill>
            <a:srgbClr val="000000">
              <a:lumMod val="20000"/>
              <a:lumOff val="80000"/>
            </a:srgbClr>
          </a:solidFill>
          <a:ln w="0">
            <a:solidFill>
              <a:srgbClr val="000000"/>
            </a:solidFill>
            <a:prstDash val="solid"/>
            <a:round/>
            <a:headEnd/>
            <a:tailEnd/>
          </a:ln>
          <a:effectLst/>
        </p:spPr>
        <p:txBody>
          <a:bodyPr/>
          <a:lstStyle/>
          <a:p>
            <a:pPr eaLnBrk="1" fontAlgn="auto" hangingPunct="1">
              <a:spcBef>
                <a:spcPts val="0"/>
              </a:spcBef>
              <a:spcAft>
                <a:spcPts val="0"/>
              </a:spcAft>
              <a:defRPr/>
            </a:pPr>
            <a:endParaRPr lang="en-US" sz="1200" b="1" kern="0">
              <a:solidFill>
                <a:srgbClr val="000000"/>
              </a:solidFill>
              <a:latin typeface="Simplified Arabic"/>
              <a:cs typeface="Simplified Arabic"/>
            </a:endParaRPr>
          </a:p>
        </p:txBody>
      </p:sp>
      <p:sp>
        <p:nvSpPr>
          <p:cNvPr id="176" name="Freeform 9"/>
          <p:cNvSpPr>
            <a:spLocks noEditPoints="1"/>
          </p:cNvSpPr>
          <p:nvPr/>
        </p:nvSpPr>
        <p:spPr bwMode="auto">
          <a:xfrm>
            <a:off x="4841875" y="3140075"/>
            <a:ext cx="2941638" cy="1738313"/>
          </a:xfrm>
          <a:custGeom>
            <a:avLst/>
            <a:gdLst>
              <a:gd name="T0" fmla="*/ 2147483647 w 2920"/>
              <a:gd name="T1" fmla="*/ 844752825 h 2919"/>
              <a:gd name="T2" fmla="*/ 2147483647 w 2920"/>
              <a:gd name="T3" fmla="*/ 211365521 h 2919"/>
              <a:gd name="T4" fmla="*/ 2147483647 w 2920"/>
              <a:gd name="T5" fmla="*/ 2147483647 h 2919"/>
              <a:gd name="T6" fmla="*/ 2147483647 w 2920"/>
              <a:gd name="T7" fmla="*/ 2147483647 h 2919"/>
              <a:gd name="T8" fmla="*/ 2147483647 w 2920"/>
              <a:gd name="T9" fmla="*/ 2147483647 h 2919"/>
              <a:gd name="T10" fmla="*/ 2147483647 w 2920"/>
              <a:gd name="T11" fmla="*/ 2147483647 h 2919"/>
              <a:gd name="T12" fmla="*/ 2147483647 w 2920"/>
              <a:gd name="T13" fmla="*/ 2147483647 h 2919"/>
              <a:gd name="T14" fmla="*/ 2147483647 w 2920"/>
              <a:gd name="T15" fmla="*/ 2147483647 h 2919"/>
              <a:gd name="T16" fmla="*/ 2147483647 w 2920"/>
              <a:gd name="T17" fmla="*/ 2147483647 h 2919"/>
              <a:gd name="T18" fmla="*/ 2147483647 w 2920"/>
              <a:gd name="T19" fmla="*/ 2147483647 h 2919"/>
              <a:gd name="T20" fmla="*/ 2147483647 w 2920"/>
              <a:gd name="T21" fmla="*/ 2147483647 h 2919"/>
              <a:gd name="T22" fmla="*/ 2147483647 w 2920"/>
              <a:gd name="T23" fmla="*/ 2147483647 h 2919"/>
              <a:gd name="T24" fmla="*/ 2147483647 w 2920"/>
              <a:gd name="T25" fmla="*/ 2147483647 h 2919"/>
              <a:gd name="T26" fmla="*/ 2147483647 w 2920"/>
              <a:gd name="T27" fmla="*/ 2147483647 h 2919"/>
              <a:gd name="T28" fmla="*/ 2147483647 w 2920"/>
              <a:gd name="T29" fmla="*/ 2147483647 h 2919"/>
              <a:gd name="T30" fmla="*/ 2147483647 w 2920"/>
              <a:gd name="T31" fmla="*/ 2147483647 h 2919"/>
              <a:gd name="T32" fmla="*/ 2147483647 w 2920"/>
              <a:gd name="T33" fmla="*/ 2147483647 h 2919"/>
              <a:gd name="T34" fmla="*/ 2147483647 w 2920"/>
              <a:gd name="T35" fmla="*/ 2147483647 h 2919"/>
              <a:gd name="T36" fmla="*/ 2147483647 w 2920"/>
              <a:gd name="T37" fmla="*/ 2147483647 h 2919"/>
              <a:gd name="T38" fmla="*/ 2147483647 w 2920"/>
              <a:gd name="T39" fmla="*/ 2147483647 h 2919"/>
              <a:gd name="T40" fmla="*/ 2147483647 w 2920"/>
              <a:gd name="T41" fmla="*/ 2147483647 h 2919"/>
              <a:gd name="T42" fmla="*/ 2147483647 w 2920"/>
              <a:gd name="T43" fmla="*/ 2147483647 h 2919"/>
              <a:gd name="T44" fmla="*/ 0 w 2920"/>
              <a:gd name="T45" fmla="*/ 2147483647 h 2919"/>
              <a:gd name="T46" fmla="*/ 2147483647 w 2920"/>
              <a:gd name="T47" fmla="*/ 2147483647 h 2919"/>
              <a:gd name="T48" fmla="*/ 2147483647 w 2920"/>
              <a:gd name="T49" fmla="*/ 844752825 h 2919"/>
              <a:gd name="T50" fmla="*/ 2147483647 w 2920"/>
              <a:gd name="T51" fmla="*/ 2147483647 h 2919"/>
              <a:gd name="T52" fmla="*/ 2147483647 w 2920"/>
              <a:gd name="T53" fmla="*/ 2147483647 h 2919"/>
              <a:gd name="T54" fmla="*/ 2147483647 w 2920"/>
              <a:gd name="T55" fmla="*/ 2147483647 h 2919"/>
              <a:gd name="T56" fmla="*/ 2147483647 w 2920"/>
              <a:gd name="T57" fmla="*/ 2147483647 h 2919"/>
              <a:gd name="T58" fmla="*/ 2147483647 w 2920"/>
              <a:gd name="T59" fmla="*/ 2147483647 h 2919"/>
              <a:gd name="T60" fmla="*/ 2147483647 w 2920"/>
              <a:gd name="T61" fmla="*/ 2147483647 h 2919"/>
              <a:gd name="T62" fmla="*/ 2147483647 w 2920"/>
              <a:gd name="T63" fmla="*/ 2147483647 h 2919"/>
              <a:gd name="T64" fmla="*/ 2147483647 w 2920"/>
              <a:gd name="T65" fmla="*/ 2147483647 h 2919"/>
              <a:gd name="T66" fmla="*/ 2147483647 w 2920"/>
              <a:gd name="T67" fmla="*/ 2147483647 h 2919"/>
              <a:gd name="T68" fmla="*/ 2147483647 w 2920"/>
              <a:gd name="T69" fmla="*/ 2147483647 h 2919"/>
              <a:gd name="T70" fmla="*/ 2147483647 w 2920"/>
              <a:gd name="T71" fmla="*/ 2147483647 h 2919"/>
              <a:gd name="T72" fmla="*/ 2147483647 w 2920"/>
              <a:gd name="T73" fmla="*/ 2147483647 h 2919"/>
              <a:gd name="T74" fmla="*/ 2147483647 w 2920"/>
              <a:gd name="T75" fmla="*/ 2147483647 h 2919"/>
              <a:gd name="T76" fmla="*/ 2147483647 w 2920"/>
              <a:gd name="T77" fmla="*/ 2147483647 h 2919"/>
              <a:gd name="T78" fmla="*/ 2147483647 w 2920"/>
              <a:gd name="T79" fmla="*/ 2147483647 h 2919"/>
              <a:gd name="T80" fmla="*/ 2147483647 w 2920"/>
              <a:gd name="T81" fmla="*/ 2147483647 h 2919"/>
              <a:gd name="T82" fmla="*/ 2147483647 w 2920"/>
              <a:gd name="T83" fmla="*/ 2147483647 h 2919"/>
              <a:gd name="T84" fmla="*/ 2147483647 w 2920"/>
              <a:gd name="T85" fmla="*/ 2147483647 h 2919"/>
              <a:gd name="T86" fmla="*/ 2147483647 w 2920"/>
              <a:gd name="T87" fmla="*/ 2147483647 h 2919"/>
              <a:gd name="T88" fmla="*/ 2147483647 w 2920"/>
              <a:gd name="T89" fmla="*/ 2147483647 h 2919"/>
              <a:gd name="T90" fmla="*/ 2147483647 w 2920"/>
              <a:gd name="T91" fmla="*/ 2147483647 h 2919"/>
              <a:gd name="T92" fmla="*/ 2147483647 w 2920"/>
              <a:gd name="T93" fmla="*/ 2147483647 h 291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20" h="2919">
                <a:moveTo>
                  <a:pt x="2498" y="4"/>
                </a:moveTo>
                <a:cubicBezTo>
                  <a:pt x="2504" y="0"/>
                  <a:pt x="2511" y="0"/>
                  <a:pt x="2517" y="1"/>
                </a:cubicBezTo>
                <a:cubicBezTo>
                  <a:pt x="2523" y="3"/>
                  <a:pt x="2529" y="7"/>
                  <a:pt x="2532" y="13"/>
                </a:cubicBezTo>
                <a:lnTo>
                  <a:pt x="2623" y="182"/>
                </a:lnTo>
                <a:lnTo>
                  <a:pt x="2701" y="357"/>
                </a:lnTo>
                <a:lnTo>
                  <a:pt x="2768" y="535"/>
                </a:lnTo>
                <a:lnTo>
                  <a:pt x="2823" y="715"/>
                </a:lnTo>
                <a:lnTo>
                  <a:pt x="2866" y="899"/>
                </a:lnTo>
                <a:lnTo>
                  <a:pt x="2896" y="1085"/>
                </a:lnTo>
                <a:lnTo>
                  <a:pt x="2914" y="1272"/>
                </a:lnTo>
                <a:lnTo>
                  <a:pt x="2920" y="1459"/>
                </a:lnTo>
                <a:lnTo>
                  <a:pt x="2914" y="1646"/>
                </a:lnTo>
                <a:lnTo>
                  <a:pt x="2896" y="1833"/>
                </a:lnTo>
                <a:lnTo>
                  <a:pt x="2866" y="2018"/>
                </a:lnTo>
                <a:lnTo>
                  <a:pt x="2824" y="2202"/>
                </a:lnTo>
                <a:lnTo>
                  <a:pt x="2768" y="2383"/>
                </a:lnTo>
                <a:lnTo>
                  <a:pt x="2702" y="2561"/>
                </a:lnTo>
                <a:lnTo>
                  <a:pt x="2623" y="2735"/>
                </a:lnTo>
                <a:lnTo>
                  <a:pt x="2532" y="2906"/>
                </a:lnTo>
                <a:cubicBezTo>
                  <a:pt x="2529" y="2912"/>
                  <a:pt x="2523" y="2916"/>
                  <a:pt x="2517" y="2918"/>
                </a:cubicBezTo>
                <a:cubicBezTo>
                  <a:pt x="2511" y="2919"/>
                  <a:pt x="2504" y="2918"/>
                  <a:pt x="2498" y="2915"/>
                </a:cubicBezTo>
                <a:lnTo>
                  <a:pt x="12" y="1480"/>
                </a:lnTo>
                <a:cubicBezTo>
                  <a:pt x="5" y="1476"/>
                  <a:pt x="0" y="1468"/>
                  <a:pt x="0" y="1459"/>
                </a:cubicBezTo>
                <a:cubicBezTo>
                  <a:pt x="0" y="1451"/>
                  <a:pt x="5" y="1443"/>
                  <a:pt x="12" y="1439"/>
                </a:cubicBezTo>
                <a:lnTo>
                  <a:pt x="2498" y="4"/>
                </a:lnTo>
                <a:close/>
                <a:moveTo>
                  <a:pt x="36" y="1480"/>
                </a:moveTo>
                <a:lnTo>
                  <a:pt x="36" y="1439"/>
                </a:lnTo>
                <a:lnTo>
                  <a:pt x="2522" y="2874"/>
                </a:lnTo>
                <a:lnTo>
                  <a:pt x="2489" y="2883"/>
                </a:lnTo>
                <a:lnTo>
                  <a:pt x="2580" y="2716"/>
                </a:lnTo>
                <a:lnTo>
                  <a:pt x="2657" y="2544"/>
                </a:lnTo>
                <a:lnTo>
                  <a:pt x="2723" y="2369"/>
                </a:lnTo>
                <a:lnTo>
                  <a:pt x="2777" y="2191"/>
                </a:lnTo>
                <a:lnTo>
                  <a:pt x="2819" y="2011"/>
                </a:lnTo>
                <a:lnTo>
                  <a:pt x="2849" y="1828"/>
                </a:lnTo>
                <a:lnTo>
                  <a:pt x="2866" y="1645"/>
                </a:lnTo>
                <a:lnTo>
                  <a:pt x="2872" y="1460"/>
                </a:lnTo>
                <a:lnTo>
                  <a:pt x="2867" y="1277"/>
                </a:lnTo>
                <a:lnTo>
                  <a:pt x="2849" y="1092"/>
                </a:lnTo>
                <a:lnTo>
                  <a:pt x="2819" y="910"/>
                </a:lnTo>
                <a:lnTo>
                  <a:pt x="2778" y="730"/>
                </a:lnTo>
                <a:lnTo>
                  <a:pt x="2723" y="552"/>
                </a:lnTo>
                <a:lnTo>
                  <a:pt x="2658" y="376"/>
                </a:lnTo>
                <a:lnTo>
                  <a:pt x="2580" y="205"/>
                </a:lnTo>
                <a:lnTo>
                  <a:pt x="2489" y="36"/>
                </a:lnTo>
                <a:lnTo>
                  <a:pt x="2522" y="45"/>
                </a:lnTo>
                <a:lnTo>
                  <a:pt x="36" y="1480"/>
                </a:lnTo>
                <a:close/>
              </a:path>
            </a:pathLst>
          </a:custGeom>
          <a:solidFill>
            <a:srgbClr val="FFFFFF"/>
          </a:solidFill>
          <a:ln w="1588" cap="flat">
            <a:solidFill>
              <a:srgbClr val="FFFFFF"/>
            </a:solidFill>
            <a:prstDash val="solid"/>
            <a:round/>
            <a:headEnd/>
            <a:tailEnd/>
          </a:ln>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77" name="Freeform 10"/>
          <p:cNvSpPr>
            <a:spLocks/>
          </p:cNvSpPr>
          <p:nvPr/>
        </p:nvSpPr>
        <p:spPr bwMode="auto">
          <a:xfrm>
            <a:off x="4792663" y="4079875"/>
            <a:ext cx="2500312" cy="1709738"/>
          </a:xfrm>
          <a:custGeom>
            <a:avLst/>
            <a:gdLst/>
            <a:ahLst/>
            <a:cxnLst>
              <a:cxn ang="0">
                <a:pos x="2482" y="1433"/>
              </a:cxn>
              <a:cxn ang="0">
                <a:pos x="0" y="2872"/>
              </a:cxn>
              <a:cxn ang="0">
                <a:pos x="0" y="2872"/>
              </a:cxn>
              <a:cxn ang="0">
                <a:pos x="0" y="0"/>
              </a:cxn>
              <a:cxn ang="0">
                <a:pos x="2482" y="1433"/>
              </a:cxn>
            </a:cxnLst>
            <a:rect l="0" t="0" r="r" b="b"/>
            <a:pathLst>
              <a:path w="2482" h="2872">
                <a:moveTo>
                  <a:pt x="2482" y="1433"/>
                </a:moveTo>
                <a:cubicBezTo>
                  <a:pt x="1971" y="2324"/>
                  <a:pt x="1025" y="2872"/>
                  <a:pt x="0" y="2872"/>
                </a:cubicBezTo>
                <a:lnTo>
                  <a:pt x="0" y="2872"/>
                </a:lnTo>
                <a:lnTo>
                  <a:pt x="0" y="0"/>
                </a:lnTo>
                <a:lnTo>
                  <a:pt x="2482" y="1433"/>
                </a:lnTo>
                <a:close/>
              </a:path>
            </a:pathLst>
          </a:custGeom>
          <a:solidFill>
            <a:srgbClr val="000000">
              <a:lumMod val="20000"/>
              <a:lumOff val="80000"/>
            </a:srgbClr>
          </a:solidFill>
          <a:ln w="0">
            <a:solidFill>
              <a:srgbClr val="000000"/>
            </a:solidFill>
            <a:prstDash val="solid"/>
            <a:round/>
            <a:headEnd/>
            <a:tailEnd/>
          </a:ln>
          <a:effectLst/>
        </p:spPr>
        <p:txBody>
          <a:bodyPr/>
          <a:lstStyle/>
          <a:p>
            <a:pPr eaLnBrk="1" fontAlgn="auto" hangingPunct="1">
              <a:spcBef>
                <a:spcPts val="0"/>
              </a:spcBef>
              <a:spcAft>
                <a:spcPts val="0"/>
              </a:spcAft>
              <a:defRPr/>
            </a:pPr>
            <a:endParaRPr lang="en-US" sz="1200" b="1" kern="0">
              <a:solidFill>
                <a:srgbClr val="000000"/>
              </a:solidFill>
              <a:latin typeface="Simplified Arabic"/>
              <a:cs typeface="Simplified Arabic"/>
            </a:endParaRPr>
          </a:p>
        </p:txBody>
      </p:sp>
      <p:sp>
        <p:nvSpPr>
          <p:cNvPr id="178" name="Freeform 11"/>
          <p:cNvSpPr>
            <a:spLocks noEditPoints="1"/>
          </p:cNvSpPr>
          <p:nvPr/>
        </p:nvSpPr>
        <p:spPr bwMode="auto">
          <a:xfrm>
            <a:off x="4768850" y="4065588"/>
            <a:ext cx="2549525" cy="1738312"/>
          </a:xfrm>
          <a:custGeom>
            <a:avLst/>
            <a:gdLst>
              <a:gd name="T0" fmla="*/ 2147483647 w 2531"/>
              <a:gd name="T1" fmla="*/ 2147483647 h 2922"/>
              <a:gd name="T2" fmla="*/ 2147483647 w 2531"/>
              <a:gd name="T3" fmla="*/ 2147483647 h 2922"/>
              <a:gd name="T4" fmla="*/ 2147483647 w 2531"/>
              <a:gd name="T5" fmla="*/ 2147483647 h 2922"/>
              <a:gd name="T6" fmla="*/ 2147483647 w 2531"/>
              <a:gd name="T7" fmla="*/ 2147483647 h 2922"/>
              <a:gd name="T8" fmla="*/ 2147483647 w 2531"/>
              <a:gd name="T9" fmla="*/ 2147483647 h 2922"/>
              <a:gd name="T10" fmla="*/ 2147483647 w 2531"/>
              <a:gd name="T11" fmla="*/ 2147483647 h 2922"/>
              <a:gd name="T12" fmla="*/ 2147483647 w 2531"/>
              <a:gd name="T13" fmla="*/ 2147483647 h 2922"/>
              <a:gd name="T14" fmla="*/ 2147483647 w 2531"/>
              <a:gd name="T15" fmla="*/ 2147483647 h 2922"/>
              <a:gd name="T16" fmla="*/ 2147483647 w 2531"/>
              <a:gd name="T17" fmla="*/ 2147483647 h 2922"/>
              <a:gd name="T18" fmla="*/ 2147483647 w 2531"/>
              <a:gd name="T19" fmla="*/ 2147483647 h 2922"/>
              <a:gd name="T20" fmla="*/ 2147483647 w 2531"/>
              <a:gd name="T21" fmla="*/ 2147483647 h 2922"/>
              <a:gd name="T22" fmla="*/ 2147483647 w 2531"/>
              <a:gd name="T23" fmla="*/ 2147483647 h 2922"/>
              <a:gd name="T24" fmla="*/ 2147483647 w 2531"/>
              <a:gd name="T25" fmla="*/ 2147483647 h 2922"/>
              <a:gd name="T26" fmla="*/ 2147483647 w 2531"/>
              <a:gd name="T27" fmla="*/ 2147483647 h 2922"/>
              <a:gd name="T28" fmla="*/ 2147483647 w 2531"/>
              <a:gd name="T29" fmla="*/ 2147483647 h 2922"/>
              <a:gd name="T30" fmla="*/ 2147483647 w 2531"/>
              <a:gd name="T31" fmla="*/ 2147483647 h 2922"/>
              <a:gd name="T32" fmla="*/ 2147483647 w 2531"/>
              <a:gd name="T33" fmla="*/ 2147483647 h 2922"/>
              <a:gd name="T34" fmla="*/ 2147483647 w 2531"/>
              <a:gd name="T35" fmla="*/ 2147483647 h 2922"/>
              <a:gd name="T36" fmla="*/ 2147483647 w 2531"/>
              <a:gd name="T37" fmla="*/ 2147483647 h 2922"/>
              <a:gd name="T38" fmla="*/ 2147483647 w 2531"/>
              <a:gd name="T39" fmla="*/ 2147483647 h 2922"/>
              <a:gd name="T40" fmla="*/ 0 w 2531"/>
              <a:gd name="T41" fmla="*/ 2147483647 h 2922"/>
              <a:gd name="T42" fmla="*/ 0 w 2531"/>
              <a:gd name="T43" fmla="*/ 2147483647 h 2922"/>
              <a:gd name="T44" fmla="*/ 2147483647 w 2531"/>
              <a:gd name="T45" fmla="*/ 1052887607 h 2922"/>
              <a:gd name="T46" fmla="*/ 2147483647 w 2531"/>
              <a:gd name="T47" fmla="*/ 1052887607 h 2922"/>
              <a:gd name="T48" fmla="*/ 2147483647 w 2531"/>
              <a:gd name="T49" fmla="*/ 2147483647 h 2922"/>
              <a:gd name="T50" fmla="*/ 2147483647 w 2531"/>
              <a:gd name="T51" fmla="*/ 2147483647 h 2922"/>
              <a:gd name="T52" fmla="*/ 2147483647 w 2531"/>
              <a:gd name="T53" fmla="*/ 2147483647 h 2922"/>
              <a:gd name="T54" fmla="*/ 2147483647 w 2531"/>
              <a:gd name="T55" fmla="*/ 2147483647 h 2922"/>
              <a:gd name="T56" fmla="*/ 2147483647 w 2531"/>
              <a:gd name="T57" fmla="*/ 2147483647 h 2922"/>
              <a:gd name="T58" fmla="*/ 2147483647 w 2531"/>
              <a:gd name="T59" fmla="*/ 2147483647 h 2922"/>
              <a:gd name="T60" fmla="*/ 2147483647 w 2531"/>
              <a:gd name="T61" fmla="*/ 2147483647 h 2922"/>
              <a:gd name="T62" fmla="*/ 2147483647 w 2531"/>
              <a:gd name="T63" fmla="*/ 2147483647 h 2922"/>
              <a:gd name="T64" fmla="*/ 2147483647 w 2531"/>
              <a:gd name="T65" fmla="*/ 2147483647 h 2922"/>
              <a:gd name="T66" fmla="*/ 2147483647 w 2531"/>
              <a:gd name="T67" fmla="*/ 2147483647 h 2922"/>
              <a:gd name="T68" fmla="*/ 2147483647 w 2531"/>
              <a:gd name="T69" fmla="*/ 2147483647 h 2922"/>
              <a:gd name="T70" fmla="*/ 2147483647 w 2531"/>
              <a:gd name="T71" fmla="*/ 2147483647 h 2922"/>
              <a:gd name="T72" fmla="*/ 2147483647 w 2531"/>
              <a:gd name="T73" fmla="*/ 2147483647 h 2922"/>
              <a:gd name="T74" fmla="*/ 2147483647 w 2531"/>
              <a:gd name="T75" fmla="*/ 2147483647 h 2922"/>
              <a:gd name="T76" fmla="*/ 2147483647 w 2531"/>
              <a:gd name="T77" fmla="*/ 2147483647 h 2922"/>
              <a:gd name="T78" fmla="*/ 2147483647 w 2531"/>
              <a:gd name="T79" fmla="*/ 2147483647 h 2922"/>
              <a:gd name="T80" fmla="*/ 2147483647 w 2531"/>
              <a:gd name="T81" fmla="*/ 2147483647 h 2922"/>
              <a:gd name="T82" fmla="*/ 2147483647 w 2531"/>
              <a:gd name="T83" fmla="*/ 2147483647 h 2922"/>
              <a:gd name="T84" fmla="*/ 2147483647 w 2531"/>
              <a:gd name="T85" fmla="*/ 2147483647 h 2922"/>
              <a:gd name="T86" fmla="*/ 2147483647 w 2531"/>
              <a:gd name="T87" fmla="*/ 2147483647 h 2922"/>
              <a:gd name="T88" fmla="*/ 2147483647 w 2531"/>
              <a:gd name="T89" fmla="*/ 2147483647 h 2922"/>
              <a:gd name="T90" fmla="*/ 2147483647 w 2531"/>
              <a:gd name="T91" fmla="*/ 2147483647 h 2922"/>
              <a:gd name="T92" fmla="*/ 2147483647 w 2531"/>
              <a:gd name="T93" fmla="*/ 2147483647 h 29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31" h="2922">
                <a:moveTo>
                  <a:pt x="2518" y="1438"/>
                </a:moveTo>
                <a:cubicBezTo>
                  <a:pt x="2524" y="1441"/>
                  <a:pt x="2528" y="1446"/>
                  <a:pt x="2530" y="1453"/>
                </a:cubicBezTo>
                <a:cubicBezTo>
                  <a:pt x="2531" y="1459"/>
                  <a:pt x="2530" y="1466"/>
                  <a:pt x="2527" y="1471"/>
                </a:cubicBezTo>
                <a:lnTo>
                  <a:pt x="2426" y="1634"/>
                </a:lnTo>
                <a:lnTo>
                  <a:pt x="2315" y="1790"/>
                </a:lnTo>
                <a:lnTo>
                  <a:pt x="2194" y="1938"/>
                </a:lnTo>
                <a:lnTo>
                  <a:pt x="2065" y="2076"/>
                </a:lnTo>
                <a:lnTo>
                  <a:pt x="1927" y="2205"/>
                </a:lnTo>
                <a:lnTo>
                  <a:pt x="1782" y="2324"/>
                </a:lnTo>
                <a:lnTo>
                  <a:pt x="1629" y="2433"/>
                </a:lnTo>
                <a:lnTo>
                  <a:pt x="1471" y="2533"/>
                </a:lnTo>
                <a:lnTo>
                  <a:pt x="1306" y="2621"/>
                </a:lnTo>
                <a:lnTo>
                  <a:pt x="1136" y="2699"/>
                </a:lnTo>
                <a:lnTo>
                  <a:pt x="960" y="2766"/>
                </a:lnTo>
                <a:lnTo>
                  <a:pt x="779" y="2820"/>
                </a:lnTo>
                <a:lnTo>
                  <a:pt x="596" y="2865"/>
                </a:lnTo>
                <a:lnTo>
                  <a:pt x="408" y="2896"/>
                </a:lnTo>
                <a:lnTo>
                  <a:pt x="218" y="2915"/>
                </a:lnTo>
                <a:lnTo>
                  <a:pt x="25" y="2921"/>
                </a:lnTo>
                <a:cubicBezTo>
                  <a:pt x="19" y="2922"/>
                  <a:pt x="12" y="2919"/>
                  <a:pt x="8" y="2915"/>
                </a:cubicBezTo>
                <a:cubicBezTo>
                  <a:pt x="3" y="2910"/>
                  <a:pt x="0" y="2904"/>
                  <a:pt x="0" y="2897"/>
                </a:cubicBezTo>
                <a:lnTo>
                  <a:pt x="0" y="25"/>
                </a:lnTo>
                <a:cubicBezTo>
                  <a:pt x="0" y="17"/>
                  <a:pt x="5" y="9"/>
                  <a:pt x="12" y="5"/>
                </a:cubicBezTo>
                <a:cubicBezTo>
                  <a:pt x="20" y="0"/>
                  <a:pt x="29" y="0"/>
                  <a:pt x="36" y="5"/>
                </a:cubicBezTo>
                <a:lnTo>
                  <a:pt x="2518" y="1438"/>
                </a:lnTo>
                <a:close/>
                <a:moveTo>
                  <a:pt x="12" y="46"/>
                </a:moveTo>
                <a:lnTo>
                  <a:pt x="48" y="25"/>
                </a:lnTo>
                <a:lnTo>
                  <a:pt x="48" y="2897"/>
                </a:lnTo>
                <a:lnTo>
                  <a:pt x="24" y="2873"/>
                </a:lnTo>
                <a:lnTo>
                  <a:pt x="213" y="2868"/>
                </a:lnTo>
                <a:lnTo>
                  <a:pt x="401" y="2849"/>
                </a:lnTo>
                <a:lnTo>
                  <a:pt x="585" y="2818"/>
                </a:lnTo>
                <a:lnTo>
                  <a:pt x="766" y="2774"/>
                </a:lnTo>
                <a:lnTo>
                  <a:pt x="943" y="2721"/>
                </a:lnTo>
                <a:lnTo>
                  <a:pt x="1115" y="2656"/>
                </a:lnTo>
                <a:lnTo>
                  <a:pt x="1283" y="2578"/>
                </a:lnTo>
                <a:lnTo>
                  <a:pt x="1446" y="2492"/>
                </a:lnTo>
                <a:lnTo>
                  <a:pt x="1602" y="2394"/>
                </a:lnTo>
                <a:lnTo>
                  <a:pt x="1751" y="2287"/>
                </a:lnTo>
                <a:lnTo>
                  <a:pt x="1894" y="2170"/>
                </a:lnTo>
                <a:lnTo>
                  <a:pt x="2030" y="2043"/>
                </a:lnTo>
                <a:lnTo>
                  <a:pt x="2157" y="1907"/>
                </a:lnTo>
                <a:lnTo>
                  <a:pt x="2276" y="1763"/>
                </a:lnTo>
                <a:lnTo>
                  <a:pt x="2385" y="1609"/>
                </a:lnTo>
                <a:lnTo>
                  <a:pt x="2486" y="1446"/>
                </a:lnTo>
                <a:lnTo>
                  <a:pt x="2494" y="1479"/>
                </a:lnTo>
                <a:lnTo>
                  <a:pt x="12" y="46"/>
                </a:lnTo>
                <a:close/>
              </a:path>
            </a:pathLst>
          </a:custGeom>
          <a:solidFill>
            <a:srgbClr val="FFFFFF"/>
          </a:solidFill>
          <a:ln w="1588" cap="flat">
            <a:solidFill>
              <a:srgbClr val="FFFFFF"/>
            </a:solidFill>
            <a:prstDash val="solid"/>
            <a:round/>
            <a:headEnd/>
            <a:tailEnd/>
          </a:ln>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79" name="Freeform 12"/>
          <p:cNvSpPr>
            <a:spLocks/>
          </p:cNvSpPr>
          <p:nvPr/>
        </p:nvSpPr>
        <p:spPr bwMode="auto">
          <a:xfrm>
            <a:off x="2163763" y="4079875"/>
            <a:ext cx="2500312" cy="1709738"/>
          </a:xfrm>
          <a:custGeom>
            <a:avLst/>
            <a:gdLst/>
            <a:ahLst/>
            <a:cxnLst>
              <a:cxn ang="0">
                <a:pos x="2482" y="2872"/>
              </a:cxn>
              <a:cxn ang="0">
                <a:pos x="0" y="1433"/>
              </a:cxn>
              <a:cxn ang="0">
                <a:pos x="0" y="1433"/>
              </a:cxn>
              <a:cxn ang="0">
                <a:pos x="2482" y="0"/>
              </a:cxn>
              <a:cxn ang="0">
                <a:pos x="2482" y="2872"/>
              </a:cxn>
            </a:cxnLst>
            <a:rect l="0" t="0" r="r" b="b"/>
            <a:pathLst>
              <a:path w="2482" h="2872">
                <a:moveTo>
                  <a:pt x="2482" y="2872"/>
                </a:moveTo>
                <a:cubicBezTo>
                  <a:pt x="1458" y="2872"/>
                  <a:pt x="512" y="2324"/>
                  <a:pt x="0" y="1433"/>
                </a:cubicBezTo>
                <a:lnTo>
                  <a:pt x="0" y="1433"/>
                </a:lnTo>
                <a:lnTo>
                  <a:pt x="2482" y="0"/>
                </a:lnTo>
                <a:lnTo>
                  <a:pt x="2482" y="2872"/>
                </a:lnTo>
                <a:close/>
              </a:path>
            </a:pathLst>
          </a:custGeom>
          <a:solidFill>
            <a:srgbClr val="000000">
              <a:lumMod val="20000"/>
              <a:lumOff val="80000"/>
            </a:srgbClr>
          </a:solidFill>
          <a:ln w="0">
            <a:solidFill>
              <a:srgbClr val="000000"/>
            </a:solidFill>
            <a:prstDash val="solid"/>
            <a:round/>
            <a:headEnd/>
            <a:tailEnd/>
          </a:ln>
          <a:effectLst/>
        </p:spPr>
        <p:txBody>
          <a:bodyPr/>
          <a:lstStyle/>
          <a:p>
            <a:pPr eaLnBrk="1" fontAlgn="auto" hangingPunct="1">
              <a:spcBef>
                <a:spcPts val="0"/>
              </a:spcBef>
              <a:spcAft>
                <a:spcPts val="0"/>
              </a:spcAft>
              <a:defRPr/>
            </a:pPr>
            <a:endParaRPr lang="en-US" sz="1200" b="1" kern="0" dirty="0">
              <a:solidFill>
                <a:srgbClr val="000000"/>
              </a:solidFill>
              <a:latin typeface="Simplified Arabic"/>
              <a:cs typeface="Simplified Arabic"/>
            </a:endParaRPr>
          </a:p>
        </p:txBody>
      </p:sp>
      <p:sp>
        <p:nvSpPr>
          <p:cNvPr id="180" name="Freeform 13"/>
          <p:cNvSpPr>
            <a:spLocks noEditPoints="1"/>
          </p:cNvSpPr>
          <p:nvPr/>
        </p:nvSpPr>
        <p:spPr bwMode="auto">
          <a:xfrm>
            <a:off x="2139950" y="4065588"/>
            <a:ext cx="2547938" cy="1738312"/>
          </a:xfrm>
          <a:custGeom>
            <a:avLst/>
            <a:gdLst>
              <a:gd name="T0" fmla="*/ 2147483647 w 2530"/>
              <a:gd name="T1" fmla="*/ 2147483647 h 2922"/>
              <a:gd name="T2" fmla="*/ 2147483647 w 2530"/>
              <a:gd name="T3" fmla="*/ 2147483647 h 2922"/>
              <a:gd name="T4" fmla="*/ 2147483647 w 2530"/>
              <a:gd name="T5" fmla="*/ 2147483647 h 2922"/>
              <a:gd name="T6" fmla="*/ 2147483647 w 2530"/>
              <a:gd name="T7" fmla="*/ 2147483647 h 2922"/>
              <a:gd name="T8" fmla="*/ 2147483647 w 2530"/>
              <a:gd name="T9" fmla="*/ 2147483647 h 2922"/>
              <a:gd name="T10" fmla="*/ 2147483647 w 2530"/>
              <a:gd name="T11" fmla="*/ 2147483647 h 2922"/>
              <a:gd name="T12" fmla="*/ 2147483647 w 2530"/>
              <a:gd name="T13" fmla="*/ 2147483647 h 2922"/>
              <a:gd name="T14" fmla="*/ 2147483647 w 2530"/>
              <a:gd name="T15" fmla="*/ 2147483647 h 2922"/>
              <a:gd name="T16" fmla="*/ 2147483647 w 2530"/>
              <a:gd name="T17" fmla="*/ 2147483647 h 2922"/>
              <a:gd name="T18" fmla="*/ 2147483647 w 2530"/>
              <a:gd name="T19" fmla="*/ 2147483647 h 2922"/>
              <a:gd name="T20" fmla="*/ 2147483647 w 2530"/>
              <a:gd name="T21" fmla="*/ 2147483647 h 2922"/>
              <a:gd name="T22" fmla="*/ 2147483647 w 2530"/>
              <a:gd name="T23" fmla="*/ 2147483647 h 2922"/>
              <a:gd name="T24" fmla="*/ 2147483647 w 2530"/>
              <a:gd name="T25" fmla="*/ 2147483647 h 2922"/>
              <a:gd name="T26" fmla="*/ 2147483647 w 2530"/>
              <a:gd name="T27" fmla="*/ 2147483647 h 2922"/>
              <a:gd name="T28" fmla="*/ 2147483647 w 2530"/>
              <a:gd name="T29" fmla="*/ 2147483647 h 2922"/>
              <a:gd name="T30" fmla="*/ 2147483647 w 2530"/>
              <a:gd name="T31" fmla="*/ 2147483647 h 2922"/>
              <a:gd name="T32" fmla="*/ 2147483647 w 2530"/>
              <a:gd name="T33" fmla="*/ 2147483647 h 2922"/>
              <a:gd name="T34" fmla="*/ 2147483647 w 2530"/>
              <a:gd name="T35" fmla="*/ 2147483647 h 2922"/>
              <a:gd name="T36" fmla="*/ 2147483647 w 2530"/>
              <a:gd name="T37" fmla="*/ 2147483647 h 2922"/>
              <a:gd name="T38" fmla="*/ 1021328965 w 2530"/>
              <a:gd name="T39" fmla="*/ 2147483647 h 2922"/>
              <a:gd name="T40" fmla="*/ 2147483647 w 2530"/>
              <a:gd name="T41" fmla="*/ 2147483647 h 2922"/>
              <a:gd name="T42" fmla="*/ 2147483647 w 2530"/>
              <a:gd name="T43" fmla="*/ 1052887607 h 2922"/>
              <a:gd name="T44" fmla="*/ 2147483647 w 2530"/>
              <a:gd name="T45" fmla="*/ 1052887607 h 2922"/>
              <a:gd name="T46" fmla="*/ 2147483647 w 2530"/>
              <a:gd name="T47" fmla="*/ 2147483647 h 2922"/>
              <a:gd name="T48" fmla="*/ 2147483647 w 2530"/>
              <a:gd name="T49" fmla="*/ 2147483647 h 2922"/>
              <a:gd name="T50" fmla="*/ 2147483647 w 2530"/>
              <a:gd name="T51" fmla="*/ 2147483647 h 2922"/>
              <a:gd name="T52" fmla="*/ 2147483647 w 2530"/>
              <a:gd name="T53" fmla="*/ 2147483647 h 2922"/>
              <a:gd name="T54" fmla="*/ 2147483647 w 2530"/>
              <a:gd name="T55" fmla="*/ 2147483647 h 2922"/>
              <a:gd name="T56" fmla="*/ 2147483647 w 2530"/>
              <a:gd name="T57" fmla="*/ 2147483647 h 2922"/>
              <a:gd name="T58" fmla="*/ 2147483647 w 2530"/>
              <a:gd name="T59" fmla="*/ 2147483647 h 2922"/>
              <a:gd name="T60" fmla="*/ 2147483647 w 2530"/>
              <a:gd name="T61" fmla="*/ 2147483647 h 2922"/>
              <a:gd name="T62" fmla="*/ 2147483647 w 2530"/>
              <a:gd name="T63" fmla="*/ 2147483647 h 2922"/>
              <a:gd name="T64" fmla="*/ 2147483647 w 2530"/>
              <a:gd name="T65" fmla="*/ 2147483647 h 2922"/>
              <a:gd name="T66" fmla="*/ 2147483647 w 2530"/>
              <a:gd name="T67" fmla="*/ 2147483647 h 2922"/>
              <a:gd name="T68" fmla="*/ 2147483647 w 2530"/>
              <a:gd name="T69" fmla="*/ 2147483647 h 2922"/>
              <a:gd name="T70" fmla="*/ 2147483647 w 2530"/>
              <a:gd name="T71" fmla="*/ 2147483647 h 2922"/>
              <a:gd name="T72" fmla="*/ 2147483647 w 2530"/>
              <a:gd name="T73" fmla="*/ 2147483647 h 2922"/>
              <a:gd name="T74" fmla="*/ 2147483647 w 2530"/>
              <a:gd name="T75" fmla="*/ 2147483647 h 2922"/>
              <a:gd name="T76" fmla="*/ 2147483647 w 2530"/>
              <a:gd name="T77" fmla="*/ 2147483647 h 2922"/>
              <a:gd name="T78" fmla="*/ 2147483647 w 2530"/>
              <a:gd name="T79" fmla="*/ 2147483647 h 2922"/>
              <a:gd name="T80" fmla="*/ 2147483647 w 2530"/>
              <a:gd name="T81" fmla="*/ 2147483647 h 2922"/>
              <a:gd name="T82" fmla="*/ 2147483647 w 2530"/>
              <a:gd name="T83" fmla="*/ 2147483647 h 2922"/>
              <a:gd name="T84" fmla="*/ 2147483647 w 2530"/>
              <a:gd name="T85" fmla="*/ 2147483647 h 2922"/>
              <a:gd name="T86" fmla="*/ 2147483647 w 2530"/>
              <a:gd name="T87" fmla="*/ 2147483647 h 2922"/>
              <a:gd name="T88" fmla="*/ 2147483647 w 2530"/>
              <a:gd name="T89" fmla="*/ 2147483647 h 2922"/>
              <a:gd name="T90" fmla="*/ 2147483647 w 2530"/>
              <a:gd name="T91" fmla="*/ 2147483647 h 2922"/>
              <a:gd name="T92" fmla="*/ 2147483647 w 2530"/>
              <a:gd name="T93" fmla="*/ 2147483647 h 29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30" h="2922">
                <a:moveTo>
                  <a:pt x="2530" y="2897"/>
                </a:moveTo>
                <a:cubicBezTo>
                  <a:pt x="2530" y="2904"/>
                  <a:pt x="2528" y="2910"/>
                  <a:pt x="2523" y="2915"/>
                </a:cubicBezTo>
                <a:cubicBezTo>
                  <a:pt x="2519" y="2919"/>
                  <a:pt x="2512" y="2922"/>
                  <a:pt x="2506" y="2921"/>
                </a:cubicBezTo>
                <a:lnTo>
                  <a:pt x="2315" y="2915"/>
                </a:lnTo>
                <a:lnTo>
                  <a:pt x="2124" y="2896"/>
                </a:lnTo>
                <a:lnTo>
                  <a:pt x="1937" y="2865"/>
                </a:lnTo>
                <a:lnTo>
                  <a:pt x="1753" y="2821"/>
                </a:lnTo>
                <a:lnTo>
                  <a:pt x="1573" y="2766"/>
                </a:lnTo>
                <a:lnTo>
                  <a:pt x="1398" y="2700"/>
                </a:lnTo>
                <a:lnTo>
                  <a:pt x="1227" y="2621"/>
                </a:lnTo>
                <a:lnTo>
                  <a:pt x="1062" y="2534"/>
                </a:lnTo>
                <a:lnTo>
                  <a:pt x="903" y="2434"/>
                </a:lnTo>
                <a:lnTo>
                  <a:pt x="751" y="2325"/>
                </a:lnTo>
                <a:lnTo>
                  <a:pt x="605" y="2206"/>
                </a:lnTo>
                <a:lnTo>
                  <a:pt x="468" y="2077"/>
                </a:lnTo>
                <a:lnTo>
                  <a:pt x="338" y="1939"/>
                </a:lnTo>
                <a:lnTo>
                  <a:pt x="218" y="1792"/>
                </a:lnTo>
                <a:lnTo>
                  <a:pt x="106" y="1635"/>
                </a:lnTo>
                <a:lnTo>
                  <a:pt x="4" y="1471"/>
                </a:lnTo>
                <a:cubicBezTo>
                  <a:pt x="1" y="1466"/>
                  <a:pt x="0" y="1459"/>
                  <a:pt x="1" y="1453"/>
                </a:cubicBezTo>
                <a:cubicBezTo>
                  <a:pt x="3" y="1446"/>
                  <a:pt x="7" y="1441"/>
                  <a:pt x="12" y="1438"/>
                </a:cubicBezTo>
                <a:lnTo>
                  <a:pt x="2494" y="5"/>
                </a:lnTo>
                <a:cubicBezTo>
                  <a:pt x="2502" y="0"/>
                  <a:pt x="2511" y="0"/>
                  <a:pt x="2518" y="5"/>
                </a:cubicBezTo>
                <a:cubicBezTo>
                  <a:pt x="2526" y="9"/>
                  <a:pt x="2530" y="17"/>
                  <a:pt x="2530" y="25"/>
                </a:cubicBezTo>
                <a:lnTo>
                  <a:pt x="2530" y="2897"/>
                </a:lnTo>
                <a:close/>
                <a:moveTo>
                  <a:pt x="2482" y="25"/>
                </a:moveTo>
                <a:lnTo>
                  <a:pt x="2518" y="46"/>
                </a:lnTo>
                <a:lnTo>
                  <a:pt x="36" y="1479"/>
                </a:lnTo>
                <a:lnTo>
                  <a:pt x="45" y="1446"/>
                </a:lnTo>
                <a:lnTo>
                  <a:pt x="145" y="1607"/>
                </a:lnTo>
                <a:lnTo>
                  <a:pt x="255" y="1761"/>
                </a:lnTo>
                <a:lnTo>
                  <a:pt x="373" y="1906"/>
                </a:lnTo>
                <a:lnTo>
                  <a:pt x="501" y="2042"/>
                </a:lnTo>
                <a:lnTo>
                  <a:pt x="636" y="2169"/>
                </a:lnTo>
                <a:lnTo>
                  <a:pt x="778" y="2286"/>
                </a:lnTo>
                <a:lnTo>
                  <a:pt x="928" y="2393"/>
                </a:lnTo>
                <a:lnTo>
                  <a:pt x="1085" y="2491"/>
                </a:lnTo>
                <a:lnTo>
                  <a:pt x="1248" y="2578"/>
                </a:lnTo>
                <a:lnTo>
                  <a:pt x="1415" y="2655"/>
                </a:lnTo>
                <a:lnTo>
                  <a:pt x="1587" y="2720"/>
                </a:lnTo>
                <a:lnTo>
                  <a:pt x="1764" y="2774"/>
                </a:lnTo>
                <a:lnTo>
                  <a:pt x="1945" y="2818"/>
                </a:lnTo>
                <a:lnTo>
                  <a:pt x="2129" y="2849"/>
                </a:lnTo>
                <a:lnTo>
                  <a:pt x="2316" y="2867"/>
                </a:lnTo>
                <a:lnTo>
                  <a:pt x="2507" y="2873"/>
                </a:lnTo>
                <a:lnTo>
                  <a:pt x="2482" y="2897"/>
                </a:lnTo>
                <a:lnTo>
                  <a:pt x="2482" y="25"/>
                </a:lnTo>
                <a:close/>
              </a:path>
            </a:pathLst>
          </a:custGeom>
          <a:solidFill>
            <a:srgbClr val="FFFFFF"/>
          </a:solidFill>
          <a:ln w="1588" cap="flat">
            <a:solidFill>
              <a:srgbClr val="FFFFFF"/>
            </a:solidFill>
            <a:prstDash val="solid"/>
            <a:round/>
            <a:headEnd/>
            <a:tailEnd/>
          </a:ln>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81" name="Freeform 14"/>
          <p:cNvSpPr>
            <a:spLocks/>
          </p:cNvSpPr>
          <p:nvPr/>
        </p:nvSpPr>
        <p:spPr bwMode="auto">
          <a:xfrm>
            <a:off x="1568450" y="3154363"/>
            <a:ext cx="3022600" cy="1708150"/>
          </a:xfrm>
          <a:custGeom>
            <a:avLst/>
            <a:gdLst>
              <a:gd name="T0" fmla="*/ 2147483647 w 3000"/>
              <a:gd name="T1" fmla="*/ 2147483647 h 2870"/>
              <a:gd name="T2" fmla="*/ 2147483647 w 3000"/>
              <a:gd name="T3" fmla="*/ 0 h 2870"/>
              <a:gd name="T4" fmla="*/ 2147483647 w 3000"/>
              <a:gd name="T5" fmla="*/ 0 h 2870"/>
              <a:gd name="T6" fmla="*/ 2147483647 w 3000"/>
              <a:gd name="T7" fmla="*/ 2147483647 h 2870"/>
              <a:gd name="T8" fmla="*/ 2147483647 w 3000"/>
              <a:gd name="T9" fmla="*/ 2147483647 h 28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00" h="2870">
                <a:moveTo>
                  <a:pt x="515" y="2870"/>
                </a:moveTo>
                <a:cubicBezTo>
                  <a:pt x="0" y="1983"/>
                  <a:pt x="0" y="888"/>
                  <a:pt x="515" y="0"/>
                </a:cubicBezTo>
                <a:lnTo>
                  <a:pt x="3000" y="1435"/>
                </a:lnTo>
                <a:lnTo>
                  <a:pt x="515" y="2870"/>
                </a:lnTo>
                <a:close/>
              </a:path>
            </a:pathLst>
          </a:custGeom>
          <a:solidFill>
            <a:srgbClr val="FF7575"/>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36000" rIns="91431" bIns="36000" anchor="ctr"/>
          <a:lstStyle/>
          <a:p>
            <a:pPr eaLnBrk="1" fontAlgn="auto" hangingPunct="1">
              <a:spcBef>
                <a:spcPts val="0"/>
              </a:spcBef>
              <a:spcAft>
                <a:spcPts val="0"/>
              </a:spcAft>
              <a:defRPr/>
            </a:pPr>
            <a:endParaRPr lang="fr-FR" kern="0">
              <a:solidFill>
                <a:sysClr val="windowText" lastClr="000000"/>
              </a:solidFill>
            </a:endParaRPr>
          </a:p>
        </p:txBody>
      </p:sp>
      <p:sp>
        <p:nvSpPr>
          <p:cNvPr id="182" name="Freeform 15"/>
          <p:cNvSpPr>
            <a:spLocks noEditPoints="1"/>
          </p:cNvSpPr>
          <p:nvPr/>
        </p:nvSpPr>
        <p:spPr bwMode="auto">
          <a:xfrm>
            <a:off x="1674813" y="3140075"/>
            <a:ext cx="2940050" cy="1738313"/>
          </a:xfrm>
          <a:custGeom>
            <a:avLst/>
            <a:gdLst>
              <a:gd name="T0" fmla="*/ 2147483647 w 2919"/>
              <a:gd name="T1" fmla="*/ 2147483647 h 2919"/>
              <a:gd name="T2" fmla="*/ 2147483647 w 2919"/>
              <a:gd name="T3" fmla="*/ 2147483647 h 2919"/>
              <a:gd name="T4" fmla="*/ 2147483647 w 2919"/>
              <a:gd name="T5" fmla="*/ 2147483647 h 2919"/>
              <a:gd name="T6" fmla="*/ 2147483647 w 2919"/>
              <a:gd name="T7" fmla="*/ 2147483647 h 2919"/>
              <a:gd name="T8" fmla="*/ 2147483647 w 2919"/>
              <a:gd name="T9" fmla="*/ 2147483647 h 2919"/>
              <a:gd name="T10" fmla="*/ 2147483647 w 2919"/>
              <a:gd name="T11" fmla="*/ 2147483647 h 2919"/>
              <a:gd name="T12" fmla="*/ 2147483647 w 2919"/>
              <a:gd name="T13" fmla="*/ 2147483647 h 2919"/>
              <a:gd name="T14" fmla="*/ 2147483647 w 2919"/>
              <a:gd name="T15" fmla="*/ 2147483647 h 2919"/>
              <a:gd name="T16" fmla="*/ 2147483647 w 2919"/>
              <a:gd name="T17" fmla="*/ 2147483647 h 2919"/>
              <a:gd name="T18" fmla="*/ 2147483647 w 2919"/>
              <a:gd name="T19" fmla="*/ 2147483647 h 2919"/>
              <a:gd name="T20" fmla="*/ 0 w 2919"/>
              <a:gd name="T21" fmla="*/ 2147483647 h 2919"/>
              <a:gd name="T22" fmla="*/ 2147483647 w 2919"/>
              <a:gd name="T23" fmla="*/ 2147483647 h 2919"/>
              <a:gd name="T24" fmla="*/ 2147483647 w 2919"/>
              <a:gd name="T25" fmla="*/ 2147483647 h 2919"/>
              <a:gd name="T26" fmla="*/ 2147483647 w 2919"/>
              <a:gd name="T27" fmla="*/ 2147483647 h 2919"/>
              <a:gd name="T28" fmla="*/ 2147483647 w 2919"/>
              <a:gd name="T29" fmla="*/ 2147483647 h 2919"/>
              <a:gd name="T30" fmla="*/ 2147483647 w 2919"/>
              <a:gd name="T31" fmla="*/ 2147483647 h 2919"/>
              <a:gd name="T32" fmla="*/ 2147483647 w 2919"/>
              <a:gd name="T33" fmla="*/ 2147483647 h 2919"/>
              <a:gd name="T34" fmla="*/ 2147483647 w 2919"/>
              <a:gd name="T35" fmla="*/ 2147483647 h 2919"/>
              <a:gd name="T36" fmla="*/ 2147483647 w 2919"/>
              <a:gd name="T37" fmla="*/ 2147483647 h 2919"/>
              <a:gd name="T38" fmla="*/ 2147483647 w 2919"/>
              <a:gd name="T39" fmla="*/ 211365521 h 2919"/>
              <a:gd name="T40" fmla="*/ 2147483647 w 2919"/>
              <a:gd name="T41" fmla="*/ 844752825 h 2919"/>
              <a:gd name="T42" fmla="*/ 2147483647 w 2919"/>
              <a:gd name="T43" fmla="*/ 2147483647 h 2919"/>
              <a:gd name="T44" fmla="*/ 2147483647 w 2919"/>
              <a:gd name="T45" fmla="*/ 2147483647 h 2919"/>
              <a:gd name="T46" fmla="*/ 2147483647 w 2919"/>
              <a:gd name="T47" fmla="*/ 2147483647 h 2919"/>
              <a:gd name="T48" fmla="*/ 2147483647 w 2919"/>
              <a:gd name="T49" fmla="*/ 2147483647 h 2919"/>
              <a:gd name="T50" fmla="*/ 2147483647 w 2919"/>
              <a:gd name="T51" fmla="*/ 2147483647 h 2919"/>
              <a:gd name="T52" fmla="*/ 2147483647 w 2919"/>
              <a:gd name="T53" fmla="*/ 2147483647 h 2919"/>
              <a:gd name="T54" fmla="*/ 2147483647 w 2919"/>
              <a:gd name="T55" fmla="*/ 2147483647 h 2919"/>
              <a:gd name="T56" fmla="*/ 2147483647 w 2919"/>
              <a:gd name="T57" fmla="*/ 2147483647 h 2919"/>
              <a:gd name="T58" fmla="*/ 2147483647 w 2919"/>
              <a:gd name="T59" fmla="*/ 2147483647 h 2919"/>
              <a:gd name="T60" fmla="*/ 2147483647 w 2919"/>
              <a:gd name="T61" fmla="*/ 2147483647 h 2919"/>
              <a:gd name="T62" fmla="*/ 2147483647 w 2919"/>
              <a:gd name="T63" fmla="*/ 2147483647 h 2919"/>
              <a:gd name="T64" fmla="*/ 2147483647 w 2919"/>
              <a:gd name="T65" fmla="*/ 2147483647 h 2919"/>
              <a:gd name="T66" fmla="*/ 2147483647 w 2919"/>
              <a:gd name="T67" fmla="*/ 2147483647 h 2919"/>
              <a:gd name="T68" fmla="*/ 2147483647 w 2919"/>
              <a:gd name="T69" fmla="*/ 2147483647 h 2919"/>
              <a:gd name="T70" fmla="*/ 2147483647 w 2919"/>
              <a:gd name="T71" fmla="*/ 2147483647 h 2919"/>
              <a:gd name="T72" fmla="*/ 2147483647 w 2919"/>
              <a:gd name="T73" fmla="*/ 2147483647 h 2919"/>
              <a:gd name="T74" fmla="*/ 2147483647 w 2919"/>
              <a:gd name="T75" fmla="*/ 2147483647 h 2919"/>
              <a:gd name="T76" fmla="*/ 2147483647 w 2919"/>
              <a:gd name="T77" fmla="*/ 2147483647 h 2919"/>
              <a:gd name="T78" fmla="*/ 2147483647 w 2919"/>
              <a:gd name="T79" fmla="*/ 2147483647 h 2919"/>
              <a:gd name="T80" fmla="*/ 2147483647 w 2919"/>
              <a:gd name="T81" fmla="*/ 2147483647 h 2919"/>
              <a:gd name="T82" fmla="*/ 2147483647 w 2919"/>
              <a:gd name="T83" fmla="*/ 2147483647 h 2919"/>
              <a:gd name="T84" fmla="*/ 2147483647 w 2919"/>
              <a:gd name="T85" fmla="*/ 2147483647 h 2919"/>
              <a:gd name="T86" fmla="*/ 2147483647 w 2919"/>
              <a:gd name="T87" fmla="*/ 2147483647 h 2919"/>
              <a:gd name="T88" fmla="*/ 2147483647 w 2919"/>
              <a:gd name="T89" fmla="*/ 2147483647 h 2919"/>
              <a:gd name="T90" fmla="*/ 2147483647 w 2919"/>
              <a:gd name="T91" fmla="*/ 2147483647 h 2919"/>
              <a:gd name="T92" fmla="*/ 2147483647 w 2919"/>
              <a:gd name="T93" fmla="*/ 2147483647 h 291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19" h="2919">
                <a:moveTo>
                  <a:pt x="422" y="2915"/>
                </a:moveTo>
                <a:cubicBezTo>
                  <a:pt x="417" y="2918"/>
                  <a:pt x="410" y="2919"/>
                  <a:pt x="404" y="2918"/>
                </a:cubicBezTo>
                <a:cubicBezTo>
                  <a:pt x="398" y="2916"/>
                  <a:pt x="392" y="2912"/>
                  <a:pt x="389" y="2906"/>
                </a:cubicBezTo>
                <a:lnTo>
                  <a:pt x="298" y="2737"/>
                </a:lnTo>
                <a:lnTo>
                  <a:pt x="220" y="2562"/>
                </a:lnTo>
                <a:lnTo>
                  <a:pt x="153" y="2385"/>
                </a:lnTo>
                <a:lnTo>
                  <a:pt x="98" y="2203"/>
                </a:lnTo>
                <a:lnTo>
                  <a:pt x="55" y="2020"/>
                </a:lnTo>
                <a:lnTo>
                  <a:pt x="25" y="1834"/>
                </a:lnTo>
                <a:lnTo>
                  <a:pt x="7" y="1648"/>
                </a:lnTo>
                <a:lnTo>
                  <a:pt x="0" y="1460"/>
                </a:lnTo>
                <a:lnTo>
                  <a:pt x="6" y="1274"/>
                </a:lnTo>
                <a:lnTo>
                  <a:pt x="25" y="1086"/>
                </a:lnTo>
                <a:lnTo>
                  <a:pt x="55" y="901"/>
                </a:lnTo>
                <a:lnTo>
                  <a:pt x="97" y="717"/>
                </a:lnTo>
                <a:lnTo>
                  <a:pt x="153" y="536"/>
                </a:lnTo>
                <a:lnTo>
                  <a:pt x="219" y="358"/>
                </a:lnTo>
                <a:lnTo>
                  <a:pt x="298" y="184"/>
                </a:lnTo>
                <a:lnTo>
                  <a:pt x="389" y="13"/>
                </a:lnTo>
                <a:cubicBezTo>
                  <a:pt x="392" y="7"/>
                  <a:pt x="398" y="3"/>
                  <a:pt x="404" y="1"/>
                </a:cubicBezTo>
                <a:cubicBezTo>
                  <a:pt x="410" y="0"/>
                  <a:pt x="417" y="0"/>
                  <a:pt x="422" y="4"/>
                </a:cubicBezTo>
                <a:lnTo>
                  <a:pt x="2907" y="1439"/>
                </a:lnTo>
                <a:cubicBezTo>
                  <a:pt x="2915" y="1443"/>
                  <a:pt x="2919" y="1451"/>
                  <a:pt x="2919" y="1459"/>
                </a:cubicBezTo>
                <a:cubicBezTo>
                  <a:pt x="2919" y="1468"/>
                  <a:pt x="2915" y="1476"/>
                  <a:pt x="2907" y="1480"/>
                </a:cubicBezTo>
                <a:lnTo>
                  <a:pt x="422" y="2915"/>
                </a:lnTo>
                <a:close/>
                <a:moveTo>
                  <a:pt x="2883" y="1439"/>
                </a:moveTo>
                <a:lnTo>
                  <a:pt x="2883" y="1480"/>
                </a:lnTo>
                <a:lnTo>
                  <a:pt x="398" y="45"/>
                </a:lnTo>
                <a:lnTo>
                  <a:pt x="432" y="36"/>
                </a:lnTo>
                <a:lnTo>
                  <a:pt x="341" y="203"/>
                </a:lnTo>
                <a:lnTo>
                  <a:pt x="264" y="375"/>
                </a:lnTo>
                <a:lnTo>
                  <a:pt x="198" y="551"/>
                </a:lnTo>
                <a:lnTo>
                  <a:pt x="144" y="728"/>
                </a:lnTo>
                <a:lnTo>
                  <a:pt x="102" y="908"/>
                </a:lnTo>
                <a:lnTo>
                  <a:pt x="72" y="1091"/>
                </a:lnTo>
                <a:lnTo>
                  <a:pt x="54" y="1275"/>
                </a:lnTo>
                <a:lnTo>
                  <a:pt x="48" y="1459"/>
                </a:lnTo>
                <a:lnTo>
                  <a:pt x="54" y="1643"/>
                </a:lnTo>
                <a:lnTo>
                  <a:pt x="72" y="1827"/>
                </a:lnTo>
                <a:lnTo>
                  <a:pt x="102" y="2009"/>
                </a:lnTo>
                <a:lnTo>
                  <a:pt x="143" y="2189"/>
                </a:lnTo>
                <a:lnTo>
                  <a:pt x="198" y="2368"/>
                </a:lnTo>
                <a:lnTo>
                  <a:pt x="263" y="2543"/>
                </a:lnTo>
                <a:lnTo>
                  <a:pt x="341" y="2714"/>
                </a:lnTo>
                <a:lnTo>
                  <a:pt x="432" y="2883"/>
                </a:lnTo>
                <a:lnTo>
                  <a:pt x="398" y="2874"/>
                </a:lnTo>
                <a:lnTo>
                  <a:pt x="2883" y="1439"/>
                </a:lnTo>
                <a:close/>
              </a:path>
            </a:pathLst>
          </a:custGeom>
          <a:solidFill>
            <a:srgbClr val="FFFFFF"/>
          </a:solidFill>
          <a:ln w="1588" cap="flat">
            <a:solidFill>
              <a:srgbClr val="FFFFFF"/>
            </a:solidFill>
            <a:prstDash val="solid"/>
            <a:round/>
            <a:headEnd/>
            <a:tailEnd/>
          </a:ln>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83" name="Freeform 16"/>
          <p:cNvSpPr>
            <a:spLocks/>
          </p:cNvSpPr>
          <p:nvPr/>
        </p:nvSpPr>
        <p:spPr bwMode="auto">
          <a:xfrm>
            <a:off x="2165350" y="2236788"/>
            <a:ext cx="2498725" cy="1704975"/>
          </a:xfrm>
          <a:custGeom>
            <a:avLst/>
            <a:gdLst>
              <a:gd name="T0" fmla="*/ 0 w 2480"/>
              <a:gd name="T1" fmla="*/ 2147483647 h 2864"/>
              <a:gd name="T2" fmla="*/ 2147483647 w 2480"/>
              <a:gd name="T3" fmla="*/ 0 h 2864"/>
              <a:gd name="T4" fmla="*/ 2147483647 w 2480"/>
              <a:gd name="T5" fmla="*/ 0 h 2864"/>
              <a:gd name="T6" fmla="*/ 2147483647 w 2480"/>
              <a:gd name="T7" fmla="*/ 2147483647 h 2864"/>
              <a:gd name="T8" fmla="*/ 0 w 2480"/>
              <a:gd name="T9" fmla="*/ 2147483647 h 286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80" h="2864">
                <a:moveTo>
                  <a:pt x="0" y="1432"/>
                </a:moveTo>
                <a:cubicBezTo>
                  <a:pt x="512" y="546"/>
                  <a:pt x="1457" y="0"/>
                  <a:pt x="2480" y="0"/>
                </a:cubicBezTo>
                <a:lnTo>
                  <a:pt x="2480" y="2864"/>
                </a:lnTo>
                <a:lnTo>
                  <a:pt x="0" y="1432"/>
                </a:lnTo>
                <a:close/>
              </a:path>
            </a:pathLst>
          </a:custGeom>
          <a:solidFill>
            <a:srgbClr val="FF7575"/>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36000" rIns="91431" bIns="36000" anchor="ctr"/>
          <a:lstStyle/>
          <a:p>
            <a:pPr eaLnBrk="1" fontAlgn="auto" hangingPunct="1">
              <a:spcBef>
                <a:spcPts val="0"/>
              </a:spcBef>
              <a:spcAft>
                <a:spcPts val="0"/>
              </a:spcAft>
              <a:defRPr/>
            </a:pPr>
            <a:endParaRPr lang="fr-FR" kern="0">
              <a:solidFill>
                <a:sysClr val="windowText" lastClr="000000"/>
              </a:solidFill>
            </a:endParaRPr>
          </a:p>
        </p:txBody>
      </p:sp>
      <p:sp>
        <p:nvSpPr>
          <p:cNvPr id="184" name="Freeform 17"/>
          <p:cNvSpPr>
            <a:spLocks noEditPoints="1"/>
          </p:cNvSpPr>
          <p:nvPr/>
        </p:nvSpPr>
        <p:spPr bwMode="auto">
          <a:xfrm>
            <a:off x="2141538" y="2222500"/>
            <a:ext cx="2546350" cy="1735138"/>
          </a:xfrm>
          <a:custGeom>
            <a:avLst/>
            <a:gdLst>
              <a:gd name="T0" fmla="*/ 2147483647 w 2528"/>
              <a:gd name="T1" fmla="*/ 2147483647 h 2914"/>
              <a:gd name="T2" fmla="*/ 1021672575 w 2528"/>
              <a:gd name="T3" fmla="*/ 2147483647 h 2914"/>
              <a:gd name="T4" fmla="*/ 2147483647 w 2528"/>
              <a:gd name="T5" fmla="*/ 2147483647 h 2914"/>
              <a:gd name="T6" fmla="*/ 2147483647 w 2528"/>
              <a:gd name="T7" fmla="*/ 2147483647 h 2914"/>
              <a:gd name="T8" fmla="*/ 2147483647 w 2528"/>
              <a:gd name="T9" fmla="*/ 2147483647 h 2914"/>
              <a:gd name="T10" fmla="*/ 2147483647 w 2528"/>
              <a:gd name="T11" fmla="*/ 2147483647 h 2914"/>
              <a:gd name="T12" fmla="*/ 2147483647 w 2528"/>
              <a:gd name="T13" fmla="*/ 2147483647 h 2914"/>
              <a:gd name="T14" fmla="*/ 2147483647 w 2528"/>
              <a:gd name="T15" fmla="*/ 2147483647 h 2914"/>
              <a:gd name="T16" fmla="*/ 2147483647 w 2528"/>
              <a:gd name="T17" fmla="*/ 2147483647 h 2914"/>
              <a:gd name="T18" fmla="*/ 2147483647 w 2528"/>
              <a:gd name="T19" fmla="*/ 2147483647 h 2914"/>
              <a:gd name="T20" fmla="*/ 2147483647 w 2528"/>
              <a:gd name="T21" fmla="*/ 2147483647 h 2914"/>
              <a:gd name="T22" fmla="*/ 2147483647 w 2528"/>
              <a:gd name="T23" fmla="*/ 2147483647 h 2914"/>
              <a:gd name="T24" fmla="*/ 2147483647 w 2528"/>
              <a:gd name="T25" fmla="*/ 2147483647 h 2914"/>
              <a:gd name="T26" fmla="*/ 2147483647 w 2528"/>
              <a:gd name="T27" fmla="*/ 2147483647 h 2914"/>
              <a:gd name="T28" fmla="*/ 2147483647 w 2528"/>
              <a:gd name="T29" fmla="*/ 2147483647 h 2914"/>
              <a:gd name="T30" fmla="*/ 2147483647 w 2528"/>
              <a:gd name="T31" fmla="*/ 2147483647 h 2914"/>
              <a:gd name="T32" fmla="*/ 2147483647 w 2528"/>
              <a:gd name="T33" fmla="*/ 2147483647 h 2914"/>
              <a:gd name="T34" fmla="*/ 2147483647 w 2528"/>
              <a:gd name="T35" fmla="*/ 1477803458 h 2914"/>
              <a:gd name="T36" fmla="*/ 2147483647 w 2528"/>
              <a:gd name="T37" fmla="*/ 0 h 2914"/>
              <a:gd name="T38" fmla="*/ 2147483647 w 2528"/>
              <a:gd name="T39" fmla="*/ 1477803458 h 2914"/>
              <a:gd name="T40" fmla="*/ 2147483647 w 2528"/>
              <a:gd name="T41" fmla="*/ 2147483647 h 2914"/>
              <a:gd name="T42" fmla="*/ 2147483647 w 2528"/>
              <a:gd name="T43" fmla="*/ 2147483647 h 2914"/>
              <a:gd name="T44" fmla="*/ 2147483647 w 2528"/>
              <a:gd name="T45" fmla="*/ 2147483647 h 2914"/>
              <a:gd name="T46" fmla="*/ 2147483647 w 2528"/>
              <a:gd name="T47" fmla="*/ 2147483647 h 2914"/>
              <a:gd name="T48" fmla="*/ 2147483647 w 2528"/>
              <a:gd name="T49" fmla="*/ 2147483647 h 2914"/>
              <a:gd name="T50" fmla="*/ 2147483647 w 2528"/>
              <a:gd name="T51" fmla="*/ 2147483647 h 2914"/>
              <a:gd name="T52" fmla="*/ 2147483647 w 2528"/>
              <a:gd name="T53" fmla="*/ 2147483647 h 2914"/>
              <a:gd name="T54" fmla="*/ 2147483647 w 2528"/>
              <a:gd name="T55" fmla="*/ 2147483647 h 2914"/>
              <a:gd name="T56" fmla="*/ 2147483647 w 2528"/>
              <a:gd name="T57" fmla="*/ 2147483647 h 2914"/>
              <a:gd name="T58" fmla="*/ 2147483647 w 2528"/>
              <a:gd name="T59" fmla="*/ 2147483647 h 2914"/>
              <a:gd name="T60" fmla="*/ 2147483647 w 2528"/>
              <a:gd name="T61" fmla="*/ 2147483647 h 2914"/>
              <a:gd name="T62" fmla="*/ 2147483647 w 2528"/>
              <a:gd name="T63" fmla="*/ 2147483647 h 2914"/>
              <a:gd name="T64" fmla="*/ 2147483647 w 2528"/>
              <a:gd name="T65" fmla="*/ 2147483647 h 2914"/>
              <a:gd name="T66" fmla="*/ 2147483647 w 2528"/>
              <a:gd name="T67" fmla="*/ 2147483647 h 2914"/>
              <a:gd name="T68" fmla="*/ 2147483647 w 2528"/>
              <a:gd name="T69" fmla="*/ 2147483647 h 2914"/>
              <a:gd name="T70" fmla="*/ 2147483647 w 2528"/>
              <a:gd name="T71" fmla="*/ 2147483647 h 2914"/>
              <a:gd name="T72" fmla="*/ 2147483647 w 2528"/>
              <a:gd name="T73" fmla="*/ 2147483647 h 2914"/>
              <a:gd name="T74" fmla="*/ 2147483647 w 2528"/>
              <a:gd name="T75" fmla="*/ 2147483647 h 2914"/>
              <a:gd name="T76" fmla="*/ 2147483647 w 2528"/>
              <a:gd name="T77" fmla="*/ 2147483647 h 2914"/>
              <a:gd name="T78" fmla="*/ 2147483647 w 2528"/>
              <a:gd name="T79" fmla="*/ 2147483647 h 2914"/>
              <a:gd name="T80" fmla="*/ 2147483647 w 2528"/>
              <a:gd name="T81" fmla="*/ 2147483647 h 2914"/>
              <a:gd name="T82" fmla="*/ 2147483647 w 2528"/>
              <a:gd name="T83" fmla="*/ 2147483647 h 2914"/>
              <a:gd name="T84" fmla="*/ 2147483647 w 2528"/>
              <a:gd name="T85" fmla="*/ 2147483647 h 2914"/>
              <a:gd name="T86" fmla="*/ 2147483647 w 2528"/>
              <a:gd name="T87" fmla="*/ 2147483647 h 2914"/>
              <a:gd name="T88" fmla="*/ 2147483647 w 2528"/>
              <a:gd name="T89" fmla="*/ 2147483647 h 2914"/>
              <a:gd name="T90" fmla="*/ 2147483647 w 2528"/>
              <a:gd name="T91" fmla="*/ 2147483647 h 2914"/>
              <a:gd name="T92" fmla="*/ 2147483647 w 2528"/>
              <a:gd name="T93" fmla="*/ 2147483647 h 29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28" h="2914">
                <a:moveTo>
                  <a:pt x="12" y="1477"/>
                </a:moveTo>
                <a:cubicBezTo>
                  <a:pt x="7" y="1474"/>
                  <a:pt x="3" y="1469"/>
                  <a:pt x="1" y="1462"/>
                </a:cubicBezTo>
                <a:cubicBezTo>
                  <a:pt x="0" y="1456"/>
                  <a:pt x="1" y="1449"/>
                  <a:pt x="4" y="1444"/>
                </a:cubicBezTo>
                <a:lnTo>
                  <a:pt x="105" y="1282"/>
                </a:lnTo>
                <a:lnTo>
                  <a:pt x="217" y="1126"/>
                </a:lnTo>
                <a:lnTo>
                  <a:pt x="337" y="980"/>
                </a:lnTo>
                <a:lnTo>
                  <a:pt x="467" y="842"/>
                </a:lnTo>
                <a:lnTo>
                  <a:pt x="604" y="714"/>
                </a:lnTo>
                <a:lnTo>
                  <a:pt x="749" y="596"/>
                </a:lnTo>
                <a:lnTo>
                  <a:pt x="902" y="487"/>
                </a:lnTo>
                <a:lnTo>
                  <a:pt x="1060" y="388"/>
                </a:lnTo>
                <a:lnTo>
                  <a:pt x="1225" y="299"/>
                </a:lnTo>
                <a:lnTo>
                  <a:pt x="1396" y="222"/>
                </a:lnTo>
                <a:lnTo>
                  <a:pt x="1571" y="156"/>
                </a:lnTo>
                <a:lnTo>
                  <a:pt x="1750" y="101"/>
                </a:lnTo>
                <a:lnTo>
                  <a:pt x="1934" y="57"/>
                </a:lnTo>
                <a:lnTo>
                  <a:pt x="2122" y="26"/>
                </a:lnTo>
                <a:lnTo>
                  <a:pt x="2311" y="7"/>
                </a:lnTo>
                <a:lnTo>
                  <a:pt x="2504" y="0"/>
                </a:lnTo>
                <a:cubicBezTo>
                  <a:pt x="2510" y="0"/>
                  <a:pt x="2517" y="3"/>
                  <a:pt x="2521" y="7"/>
                </a:cubicBezTo>
                <a:cubicBezTo>
                  <a:pt x="2526" y="12"/>
                  <a:pt x="2528" y="18"/>
                  <a:pt x="2528" y="24"/>
                </a:cubicBezTo>
                <a:lnTo>
                  <a:pt x="2528" y="2888"/>
                </a:lnTo>
                <a:cubicBezTo>
                  <a:pt x="2528" y="2897"/>
                  <a:pt x="2524" y="2905"/>
                  <a:pt x="2516" y="2909"/>
                </a:cubicBezTo>
                <a:cubicBezTo>
                  <a:pt x="2509" y="2914"/>
                  <a:pt x="2500" y="2914"/>
                  <a:pt x="2492" y="2909"/>
                </a:cubicBezTo>
                <a:lnTo>
                  <a:pt x="12" y="1477"/>
                </a:lnTo>
                <a:close/>
                <a:moveTo>
                  <a:pt x="2516" y="2868"/>
                </a:moveTo>
                <a:lnTo>
                  <a:pt x="2480" y="2888"/>
                </a:lnTo>
                <a:lnTo>
                  <a:pt x="2480" y="24"/>
                </a:lnTo>
                <a:lnTo>
                  <a:pt x="2505" y="48"/>
                </a:lnTo>
                <a:lnTo>
                  <a:pt x="2316" y="54"/>
                </a:lnTo>
                <a:lnTo>
                  <a:pt x="2129" y="73"/>
                </a:lnTo>
                <a:lnTo>
                  <a:pt x="1945" y="104"/>
                </a:lnTo>
                <a:lnTo>
                  <a:pt x="1765" y="146"/>
                </a:lnTo>
                <a:lnTo>
                  <a:pt x="1588" y="201"/>
                </a:lnTo>
                <a:lnTo>
                  <a:pt x="1415" y="265"/>
                </a:lnTo>
                <a:lnTo>
                  <a:pt x="1248" y="342"/>
                </a:lnTo>
                <a:lnTo>
                  <a:pt x="1085" y="429"/>
                </a:lnTo>
                <a:lnTo>
                  <a:pt x="929" y="526"/>
                </a:lnTo>
                <a:lnTo>
                  <a:pt x="780" y="633"/>
                </a:lnTo>
                <a:lnTo>
                  <a:pt x="637" y="749"/>
                </a:lnTo>
                <a:lnTo>
                  <a:pt x="502" y="875"/>
                </a:lnTo>
                <a:lnTo>
                  <a:pt x="374" y="1011"/>
                </a:lnTo>
                <a:lnTo>
                  <a:pt x="256" y="1155"/>
                </a:lnTo>
                <a:lnTo>
                  <a:pt x="146" y="1307"/>
                </a:lnTo>
                <a:lnTo>
                  <a:pt x="45" y="1469"/>
                </a:lnTo>
                <a:lnTo>
                  <a:pt x="36" y="1436"/>
                </a:lnTo>
                <a:lnTo>
                  <a:pt x="2516" y="2868"/>
                </a:lnTo>
                <a:close/>
              </a:path>
            </a:pathLst>
          </a:custGeom>
          <a:solidFill>
            <a:srgbClr val="FFFFFF"/>
          </a:solidFill>
          <a:ln w="1588" cap="flat">
            <a:solidFill>
              <a:srgbClr val="FFFFFF"/>
            </a:solidFill>
            <a:prstDash val="solid"/>
            <a:round/>
            <a:headEnd/>
            <a:tailEnd/>
          </a:ln>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85" name="Freeform 18"/>
          <p:cNvSpPr>
            <a:spLocks/>
          </p:cNvSpPr>
          <p:nvPr/>
        </p:nvSpPr>
        <p:spPr bwMode="auto">
          <a:xfrm>
            <a:off x="4794250" y="2143125"/>
            <a:ext cx="2663825" cy="944563"/>
          </a:xfrm>
          <a:custGeom>
            <a:avLst/>
            <a:gdLst>
              <a:gd name="T0" fmla="*/ 0 w 2645"/>
              <a:gd name="T1" fmla="*/ 0 h 1585"/>
              <a:gd name="T2" fmla="*/ 2147483647 w 2645"/>
              <a:gd name="T3" fmla="*/ 2147483647 h 1585"/>
              <a:gd name="T4" fmla="*/ 2147483647 w 2645"/>
              <a:gd name="T5" fmla="*/ 2147483647 h 1585"/>
              <a:gd name="T6" fmla="*/ 2147483647 w 2645"/>
              <a:gd name="T7" fmla="*/ 2147483647 h 1585"/>
              <a:gd name="T8" fmla="*/ 2147483647 w 2645"/>
              <a:gd name="T9" fmla="*/ 2147483647 h 1585"/>
              <a:gd name="T10" fmla="*/ 2147483647 w 2645"/>
              <a:gd name="T11" fmla="*/ 2147483647 h 1585"/>
              <a:gd name="T12" fmla="*/ 2147483647 w 2645"/>
              <a:gd name="T13" fmla="*/ 2147483647 h 1585"/>
              <a:gd name="T14" fmla="*/ 2147483647 w 2645"/>
              <a:gd name="T15" fmla="*/ 2147483647 h 1585"/>
              <a:gd name="T16" fmla="*/ 0 w 2645"/>
              <a:gd name="T17" fmla="*/ 2147483647 h 1585"/>
              <a:gd name="T18" fmla="*/ 0 w 2645"/>
              <a:gd name="T19" fmla="*/ 0 h 15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45" h="1585">
                <a:moveTo>
                  <a:pt x="0" y="0"/>
                </a:moveTo>
                <a:cubicBezTo>
                  <a:pt x="977" y="0"/>
                  <a:pt x="1894" y="476"/>
                  <a:pt x="2457" y="1275"/>
                </a:cubicBezTo>
                <a:lnTo>
                  <a:pt x="2645" y="1166"/>
                </a:lnTo>
                <a:lnTo>
                  <a:pt x="2460" y="1585"/>
                </a:lnTo>
                <a:lnTo>
                  <a:pt x="1983" y="1548"/>
                </a:lnTo>
                <a:lnTo>
                  <a:pt x="2171" y="1439"/>
                </a:lnTo>
                <a:cubicBezTo>
                  <a:pt x="1668" y="742"/>
                  <a:pt x="860" y="328"/>
                  <a:pt x="0" y="328"/>
                </a:cubicBezTo>
                <a:lnTo>
                  <a:pt x="0" y="0"/>
                </a:lnTo>
                <a:close/>
              </a:path>
            </a:pathLst>
          </a:custGeom>
          <a:solidFill>
            <a:srgbClr val="E0E0E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86" name="Freeform 19"/>
          <p:cNvSpPr>
            <a:spLocks/>
          </p:cNvSpPr>
          <p:nvPr/>
        </p:nvSpPr>
        <p:spPr bwMode="auto">
          <a:xfrm>
            <a:off x="7127875" y="3109913"/>
            <a:ext cx="892175" cy="1739900"/>
          </a:xfrm>
          <a:custGeom>
            <a:avLst/>
            <a:gdLst>
              <a:gd name="T0" fmla="*/ 2147483647 w 886"/>
              <a:gd name="T1" fmla="*/ 0 h 2923"/>
              <a:gd name="T2" fmla="*/ 2147483647 w 886"/>
              <a:gd name="T3" fmla="*/ 2147483647 h 2923"/>
              <a:gd name="T4" fmla="*/ 2147483647 w 886"/>
              <a:gd name="T5" fmla="*/ 2147483647 h 2923"/>
              <a:gd name="T6" fmla="*/ 2147483647 w 886"/>
              <a:gd name="T7" fmla="*/ 2147483647 h 2923"/>
              <a:gd name="T8" fmla="*/ 2147483647 w 886"/>
              <a:gd name="T9" fmla="*/ 2147483647 h 2923"/>
              <a:gd name="T10" fmla="*/ 0 w 886"/>
              <a:gd name="T11" fmla="*/ 2147483647 h 2923"/>
              <a:gd name="T12" fmla="*/ 2147483647 w 886"/>
              <a:gd name="T13" fmla="*/ 2147483647 h 2923"/>
              <a:gd name="T14" fmla="*/ 2147483647 w 886"/>
              <a:gd name="T15" fmla="*/ 2147483647 h 2923"/>
              <a:gd name="T16" fmla="*/ 2147483647 w 886"/>
              <a:gd name="T17" fmla="*/ 2147483647 h 2923"/>
              <a:gd name="T18" fmla="*/ 2147483647 w 886"/>
              <a:gd name="T19" fmla="*/ 0 h 29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86" h="2923">
                <a:moveTo>
                  <a:pt x="348" y="0"/>
                </a:moveTo>
                <a:cubicBezTo>
                  <a:pt x="839" y="846"/>
                  <a:pt x="886" y="1878"/>
                  <a:pt x="473" y="2765"/>
                </a:cubicBezTo>
                <a:lnTo>
                  <a:pt x="661" y="2873"/>
                </a:lnTo>
                <a:lnTo>
                  <a:pt x="206" y="2923"/>
                </a:lnTo>
                <a:lnTo>
                  <a:pt x="0" y="2492"/>
                </a:lnTo>
                <a:lnTo>
                  <a:pt x="189" y="2600"/>
                </a:lnTo>
                <a:cubicBezTo>
                  <a:pt x="543" y="1816"/>
                  <a:pt x="497" y="909"/>
                  <a:pt x="65" y="164"/>
                </a:cubicBezTo>
                <a:lnTo>
                  <a:pt x="348" y="0"/>
                </a:lnTo>
                <a:close/>
              </a:path>
            </a:pathLst>
          </a:custGeom>
          <a:solidFill>
            <a:srgbClr val="E0E0E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87" name="Freeform 20"/>
          <p:cNvSpPr>
            <a:spLocks/>
          </p:cNvSpPr>
          <p:nvPr/>
        </p:nvSpPr>
        <p:spPr bwMode="auto">
          <a:xfrm>
            <a:off x="4794250" y="4941888"/>
            <a:ext cx="2620963" cy="1116012"/>
          </a:xfrm>
          <a:custGeom>
            <a:avLst/>
            <a:gdLst>
              <a:gd name="T0" fmla="*/ 2147483647 w 2602"/>
              <a:gd name="T1" fmla="*/ 2147483647 h 1873"/>
              <a:gd name="T2" fmla="*/ 2147483647 w 2602"/>
              <a:gd name="T3" fmla="*/ 2147483647 h 1873"/>
              <a:gd name="T4" fmla="*/ 2147483647 w 2602"/>
              <a:gd name="T5" fmla="*/ 2147483647 h 1873"/>
              <a:gd name="T6" fmla="*/ 2147483647 w 2602"/>
              <a:gd name="T7" fmla="*/ 2147483647 h 1873"/>
              <a:gd name="T8" fmla="*/ 0 w 2602"/>
              <a:gd name="T9" fmla="*/ 2147483647 h 1873"/>
              <a:gd name="T10" fmla="*/ 2147483647 w 2602"/>
              <a:gd name="T11" fmla="*/ 2147483647 h 1873"/>
              <a:gd name="T12" fmla="*/ 2147483647 w 2602"/>
              <a:gd name="T13" fmla="*/ 2147483647 h 1873"/>
              <a:gd name="T14" fmla="*/ 2147483647 w 2602"/>
              <a:gd name="T15" fmla="*/ 2147483647 h 1873"/>
              <a:gd name="T16" fmla="*/ 2147483647 w 2602"/>
              <a:gd name="T17" fmla="*/ 0 h 1873"/>
              <a:gd name="T18" fmla="*/ 2147483647 w 2602"/>
              <a:gd name="T19" fmla="*/ 2147483647 h 18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02" h="1873">
                <a:moveTo>
                  <a:pt x="2602" y="164"/>
                </a:moveTo>
                <a:cubicBezTo>
                  <a:pt x="2113" y="1011"/>
                  <a:pt x="1244" y="1567"/>
                  <a:pt x="270" y="1655"/>
                </a:cubicBezTo>
                <a:lnTo>
                  <a:pt x="270" y="1873"/>
                </a:lnTo>
                <a:lnTo>
                  <a:pt x="0" y="1503"/>
                </a:lnTo>
                <a:lnTo>
                  <a:pt x="270" y="1108"/>
                </a:lnTo>
                <a:lnTo>
                  <a:pt x="270" y="1325"/>
                </a:lnTo>
                <a:cubicBezTo>
                  <a:pt x="1126" y="1238"/>
                  <a:pt x="1888" y="745"/>
                  <a:pt x="2318" y="0"/>
                </a:cubicBezTo>
                <a:lnTo>
                  <a:pt x="2602" y="164"/>
                </a:lnTo>
                <a:close/>
              </a:path>
            </a:pathLst>
          </a:custGeom>
          <a:solidFill>
            <a:srgbClr val="E0E0E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88" name="Freeform 21"/>
          <p:cNvSpPr>
            <a:spLocks/>
          </p:cNvSpPr>
          <p:nvPr/>
        </p:nvSpPr>
        <p:spPr bwMode="auto">
          <a:xfrm>
            <a:off x="1982788" y="4921250"/>
            <a:ext cx="2665412" cy="942975"/>
          </a:xfrm>
          <a:custGeom>
            <a:avLst/>
            <a:gdLst>
              <a:gd name="T0" fmla="*/ 2147483647 w 2645"/>
              <a:gd name="T1" fmla="*/ 2147483647 h 1585"/>
              <a:gd name="T2" fmla="*/ 2147483647 w 2645"/>
              <a:gd name="T3" fmla="*/ 2147483647 h 1585"/>
              <a:gd name="T4" fmla="*/ 2147483647 w 2645"/>
              <a:gd name="T5" fmla="*/ 2147483647 h 1585"/>
              <a:gd name="T6" fmla="*/ 0 w 2645"/>
              <a:gd name="T7" fmla="*/ 2147483647 h 1585"/>
              <a:gd name="T8" fmla="*/ 2147483647 w 2645"/>
              <a:gd name="T9" fmla="*/ 0 h 1585"/>
              <a:gd name="T10" fmla="*/ 2147483647 w 2645"/>
              <a:gd name="T11" fmla="*/ 2147483647 h 1585"/>
              <a:gd name="T12" fmla="*/ 2147483647 w 2645"/>
              <a:gd name="T13" fmla="*/ 2147483647 h 1585"/>
              <a:gd name="T14" fmla="*/ 2147483647 w 2645"/>
              <a:gd name="T15" fmla="*/ 2147483647 h 1585"/>
              <a:gd name="T16" fmla="*/ 2147483647 w 2645"/>
              <a:gd name="T17" fmla="*/ 2147483647 h 1585"/>
              <a:gd name="T18" fmla="*/ 2147483647 w 2645"/>
              <a:gd name="T19" fmla="*/ 2147483647 h 15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45" h="1585">
                <a:moveTo>
                  <a:pt x="2645" y="1585"/>
                </a:moveTo>
                <a:cubicBezTo>
                  <a:pt x="1668" y="1585"/>
                  <a:pt x="751" y="1109"/>
                  <a:pt x="188" y="310"/>
                </a:cubicBezTo>
                <a:lnTo>
                  <a:pt x="0" y="419"/>
                </a:lnTo>
                <a:lnTo>
                  <a:pt x="185" y="0"/>
                </a:lnTo>
                <a:lnTo>
                  <a:pt x="662" y="37"/>
                </a:lnTo>
                <a:lnTo>
                  <a:pt x="474" y="146"/>
                </a:lnTo>
                <a:cubicBezTo>
                  <a:pt x="977" y="843"/>
                  <a:pt x="1785" y="1257"/>
                  <a:pt x="2645" y="1257"/>
                </a:cubicBezTo>
                <a:lnTo>
                  <a:pt x="2645" y="1585"/>
                </a:lnTo>
                <a:close/>
              </a:path>
            </a:pathLst>
          </a:custGeom>
          <a:solidFill>
            <a:srgbClr val="E0E0E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89" name="Freeform 22"/>
          <p:cNvSpPr>
            <a:spLocks/>
          </p:cNvSpPr>
          <p:nvPr/>
        </p:nvSpPr>
        <p:spPr bwMode="auto">
          <a:xfrm>
            <a:off x="1420813" y="3159125"/>
            <a:ext cx="892175" cy="1738313"/>
          </a:xfrm>
          <a:custGeom>
            <a:avLst/>
            <a:gdLst>
              <a:gd name="T0" fmla="*/ 2147483647 w 885"/>
              <a:gd name="T1" fmla="*/ 2147483647 h 2922"/>
              <a:gd name="T2" fmla="*/ 2147483647 w 885"/>
              <a:gd name="T3" fmla="*/ 2147483647 h 2922"/>
              <a:gd name="T4" fmla="*/ 2147483647 w 885"/>
              <a:gd name="T5" fmla="*/ 2147483647 h 2922"/>
              <a:gd name="T6" fmla="*/ 2147483647 w 885"/>
              <a:gd name="T7" fmla="*/ 2147483647 h 2922"/>
              <a:gd name="T8" fmla="*/ 2147483647 w 885"/>
              <a:gd name="T9" fmla="*/ 0 h 2922"/>
              <a:gd name="T10" fmla="*/ 2147483647 w 885"/>
              <a:gd name="T11" fmla="*/ 2147483647 h 2922"/>
              <a:gd name="T12" fmla="*/ 2147483647 w 885"/>
              <a:gd name="T13" fmla="*/ 2147483647 h 2922"/>
              <a:gd name="T14" fmla="*/ 2147483647 w 885"/>
              <a:gd name="T15" fmla="*/ 2147483647 h 2922"/>
              <a:gd name="T16" fmla="*/ 2147483647 w 885"/>
              <a:gd name="T17" fmla="*/ 2147483647 h 2922"/>
              <a:gd name="T18" fmla="*/ 2147483647 w 885"/>
              <a:gd name="T19" fmla="*/ 2147483647 h 29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85" h="2922">
                <a:moveTo>
                  <a:pt x="538" y="2922"/>
                </a:moveTo>
                <a:cubicBezTo>
                  <a:pt x="47" y="2077"/>
                  <a:pt x="0" y="1045"/>
                  <a:pt x="413" y="158"/>
                </a:cubicBezTo>
                <a:lnTo>
                  <a:pt x="225" y="50"/>
                </a:lnTo>
                <a:lnTo>
                  <a:pt x="680" y="0"/>
                </a:lnTo>
                <a:lnTo>
                  <a:pt x="885" y="431"/>
                </a:lnTo>
                <a:lnTo>
                  <a:pt x="697" y="323"/>
                </a:lnTo>
                <a:cubicBezTo>
                  <a:pt x="343" y="1107"/>
                  <a:pt x="389" y="2014"/>
                  <a:pt x="821" y="2759"/>
                </a:cubicBezTo>
                <a:lnTo>
                  <a:pt x="538" y="2922"/>
                </a:lnTo>
                <a:close/>
              </a:path>
            </a:pathLst>
          </a:custGeom>
          <a:solidFill>
            <a:srgbClr val="E0E0E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1" fontAlgn="auto" hangingPunct="1">
              <a:spcBef>
                <a:spcPts val="0"/>
              </a:spcBef>
              <a:spcAft>
                <a:spcPts val="0"/>
              </a:spcAft>
              <a:defRPr/>
            </a:pPr>
            <a:endParaRPr lang="fr-FR" kern="0">
              <a:solidFill>
                <a:sysClr val="windowText" lastClr="000000"/>
              </a:solidFill>
            </a:endParaRPr>
          </a:p>
        </p:txBody>
      </p:sp>
      <p:sp>
        <p:nvSpPr>
          <p:cNvPr id="153621" name="Rectangle 29"/>
          <p:cNvSpPr>
            <a:spLocks noChangeArrowheads="1"/>
          </p:cNvSpPr>
          <p:nvPr/>
        </p:nvSpPr>
        <p:spPr bwMode="gray">
          <a:xfrm>
            <a:off x="5016500" y="2711450"/>
            <a:ext cx="1516063"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rtl="1" eaLnBrk="1" hangingPunct="1">
              <a:lnSpc>
                <a:spcPct val="85000"/>
              </a:lnSpc>
              <a:spcBef>
                <a:spcPct val="0"/>
              </a:spcBef>
              <a:buClr>
                <a:srgbClr val="980F39"/>
              </a:buClr>
              <a:buFontTx/>
              <a:buNone/>
            </a:pPr>
            <a:r>
              <a:rPr lang="en-GB" altLang="fr-FR" sz="1400" b="1">
                <a:solidFill>
                  <a:srgbClr val="000000"/>
                </a:solidFill>
                <a:latin typeface="Simplified Arabic" panose="02020603050405020304" pitchFamily="18" charset="-78"/>
                <a:cs typeface="Simplified Arabic" panose="02020603050405020304" pitchFamily="18" charset="-78"/>
              </a:rPr>
              <a:t>Political Stability and Security</a:t>
            </a:r>
          </a:p>
        </p:txBody>
      </p:sp>
      <p:sp>
        <p:nvSpPr>
          <p:cNvPr id="153622" name="Rectangle 29"/>
          <p:cNvSpPr>
            <a:spLocks noChangeArrowheads="1"/>
          </p:cNvSpPr>
          <p:nvPr/>
        </p:nvSpPr>
        <p:spPr bwMode="gray">
          <a:xfrm>
            <a:off x="6337300" y="3940175"/>
            <a:ext cx="126682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rtl="1" eaLnBrk="1" hangingPunct="1">
              <a:lnSpc>
                <a:spcPct val="85000"/>
              </a:lnSpc>
              <a:spcBef>
                <a:spcPct val="0"/>
              </a:spcBef>
              <a:buClr>
                <a:srgbClr val="980F39"/>
              </a:buClr>
              <a:buFontTx/>
              <a:buNone/>
            </a:pPr>
            <a:r>
              <a:rPr lang="en-US" altLang="fr-FR" sz="1400" b="1">
                <a:solidFill>
                  <a:srgbClr val="000000"/>
                </a:solidFill>
                <a:latin typeface="Simplified Arabic" panose="02020603050405020304" pitchFamily="18" charset="-78"/>
                <a:cs typeface="Simplified Arabic" panose="02020603050405020304" pitchFamily="18" charset="-78"/>
              </a:rPr>
              <a:t>Efficiency of Finance and Tax Sectors </a:t>
            </a:r>
            <a:endParaRPr lang="fr-FR" altLang="fr-FR" sz="1400" b="1">
              <a:solidFill>
                <a:srgbClr val="000000"/>
              </a:solidFill>
              <a:latin typeface="Simplified Arabic" panose="02020603050405020304" pitchFamily="18" charset="-78"/>
              <a:cs typeface="Simplified Arabic" panose="02020603050405020304" pitchFamily="18" charset="-78"/>
            </a:endParaRPr>
          </a:p>
        </p:txBody>
      </p:sp>
      <p:sp>
        <p:nvSpPr>
          <p:cNvPr id="153623" name="Rectangle 29"/>
          <p:cNvSpPr>
            <a:spLocks noChangeArrowheads="1"/>
          </p:cNvSpPr>
          <p:nvPr/>
        </p:nvSpPr>
        <p:spPr bwMode="gray">
          <a:xfrm>
            <a:off x="5091113" y="4976813"/>
            <a:ext cx="1266825"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rtl="1" eaLnBrk="1" hangingPunct="1">
              <a:lnSpc>
                <a:spcPct val="85000"/>
              </a:lnSpc>
              <a:spcBef>
                <a:spcPct val="0"/>
              </a:spcBef>
              <a:buClr>
                <a:srgbClr val="980F39"/>
              </a:buClr>
              <a:buFontTx/>
              <a:buNone/>
            </a:pPr>
            <a:r>
              <a:rPr lang="fr-FR" altLang="fr-FR" sz="1400" b="1">
                <a:solidFill>
                  <a:srgbClr val="000000"/>
                </a:solidFill>
                <a:latin typeface="Simplified Arabic" panose="02020603050405020304" pitchFamily="18" charset="-78"/>
                <a:cs typeface="Simplified Arabic" panose="02020603050405020304" pitchFamily="18" charset="-78"/>
              </a:rPr>
              <a:t>Infrastructure</a:t>
            </a:r>
          </a:p>
        </p:txBody>
      </p:sp>
      <p:sp>
        <p:nvSpPr>
          <p:cNvPr id="153624" name="Rectangle 29"/>
          <p:cNvSpPr>
            <a:spLocks noChangeArrowheads="1"/>
          </p:cNvSpPr>
          <p:nvPr/>
        </p:nvSpPr>
        <p:spPr bwMode="gray">
          <a:xfrm>
            <a:off x="3317875" y="4975225"/>
            <a:ext cx="126682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rtl="1" eaLnBrk="1" hangingPunct="1">
              <a:lnSpc>
                <a:spcPct val="85000"/>
              </a:lnSpc>
              <a:spcBef>
                <a:spcPct val="0"/>
              </a:spcBef>
              <a:buClr>
                <a:srgbClr val="980F39"/>
              </a:buClr>
              <a:buFontTx/>
              <a:buNone/>
            </a:pPr>
            <a:r>
              <a:rPr lang="en-US" altLang="fr-FR" sz="1400" b="1">
                <a:solidFill>
                  <a:srgbClr val="000000"/>
                </a:solidFill>
                <a:latin typeface="Simplified Arabic" panose="02020603050405020304" pitchFamily="18" charset="-78"/>
                <a:cs typeface="Simplified Arabic" panose="02020603050405020304" pitchFamily="18" charset="-78"/>
              </a:rPr>
              <a:t>Human Resources and Social Stability</a:t>
            </a:r>
            <a:endParaRPr lang="fr-FR" altLang="fr-FR" sz="1400" b="1">
              <a:solidFill>
                <a:srgbClr val="000000"/>
              </a:solidFill>
              <a:latin typeface="Simplified Arabic" panose="02020603050405020304" pitchFamily="18" charset="-78"/>
              <a:cs typeface="Simplified Arabic" panose="02020603050405020304" pitchFamily="18" charset="-78"/>
            </a:endParaRPr>
          </a:p>
        </p:txBody>
      </p:sp>
      <p:sp>
        <p:nvSpPr>
          <p:cNvPr id="153625" name="Rectangle 29"/>
          <p:cNvSpPr>
            <a:spLocks noChangeArrowheads="1"/>
          </p:cNvSpPr>
          <p:nvPr/>
        </p:nvSpPr>
        <p:spPr bwMode="gray">
          <a:xfrm>
            <a:off x="3365500" y="2678113"/>
            <a:ext cx="1266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rtl="1" eaLnBrk="1" hangingPunct="1">
              <a:lnSpc>
                <a:spcPct val="85000"/>
              </a:lnSpc>
              <a:spcBef>
                <a:spcPct val="0"/>
              </a:spcBef>
              <a:buClr>
                <a:srgbClr val="980F39"/>
              </a:buClr>
              <a:buFontTx/>
              <a:buNone/>
            </a:pPr>
            <a:r>
              <a:rPr lang="en-GB" altLang="fr-FR" sz="1400" b="1">
                <a:solidFill>
                  <a:srgbClr val="FFFFFF"/>
                </a:solidFill>
                <a:latin typeface="Simplified Arabic" panose="02020603050405020304" pitchFamily="18" charset="-78"/>
                <a:cs typeface="Simplified Arabic" panose="02020603050405020304" pitchFamily="18" charset="-78"/>
              </a:rPr>
              <a:t>Business Climate</a:t>
            </a:r>
          </a:p>
        </p:txBody>
      </p:sp>
      <p:pic>
        <p:nvPicPr>
          <p:cNvPr id="195" name="Picture 57"/>
          <p:cNvPicPr>
            <a:picLocks noChangeAspect="1" noChangeArrowheads="1"/>
          </p:cNvPicPr>
          <p:nvPr/>
        </p:nvPicPr>
        <p:blipFill>
          <a:blip r:embed="rId3" cstate="print">
            <a:duotone>
              <a:srgbClr val="000000">
                <a:shade val="45000"/>
                <a:satMod val="135000"/>
              </a:srgbClr>
              <a:prstClr val="white"/>
            </a:duotone>
          </a:blip>
          <a:srcRect/>
          <a:stretch>
            <a:fillRect/>
          </a:stretch>
        </p:blipFill>
        <p:spPr bwMode="auto">
          <a:xfrm>
            <a:off x="3596078" y="4440791"/>
            <a:ext cx="450850" cy="485775"/>
          </a:xfrm>
          <a:prstGeom prst="rect">
            <a:avLst/>
          </a:prstGeom>
          <a:noFill/>
          <a:ln w="9525">
            <a:noFill/>
            <a:miter lim="800000"/>
            <a:headEnd/>
            <a:tailEnd/>
          </a:ln>
        </p:spPr>
      </p:pic>
      <p:pic>
        <p:nvPicPr>
          <p:cNvPr id="196" name="Picture 56"/>
          <p:cNvPicPr>
            <a:picLocks noChangeAspect="1" noChangeArrowheads="1"/>
          </p:cNvPicPr>
          <p:nvPr/>
        </p:nvPicPr>
        <p:blipFill>
          <a:blip r:embed="rId4" cstate="print">
            <a:duotone>
              <a:srgbClr val="000000">
                <a:shade val="45000"/>
                <a:satMod val="135000"/>
              </a:srgbClr>
              <a:prstClr val="white"/>
            </a:duotone>
          </a:blip>
          <a:srcRect/>
          <a:stretch>
            <a:fillRect/>
          </a:stretch>
        </p:blipFill>
        <p:spPr bwMode="auto">
          <a:xfrm>
            <a:off x="5150476" y="4372688"/>
            <a:ext cx="476250" cy="454025"/>
          </a:xfrm>
          <a:prstGeom prst="rect">
            <a:avLst/>
          </a:prstGeom>
          <a:noFill/>
          <a:ln w="9525">
            <a:noFill/>
            <a:miter lim="800000"/>
            <a:headEnd/>
            <a:tailEnd/>
          </a:ln>
        </p:spPr>
      </p:pic>
      <p:sp>
        <p:nvSpPr>
          <p:cNvPr id="197" name="Oval 178"/>
          <p:cNvSpPr/>
          <p:nvPr/>
        </p:nvSpPr>
        <p:spPr>
          <a:xfrm>
            <a:off x="5019675" y="2432050"/>
            <a:ext cx="273050" cy="273050"/>
          </a:xfrm>
          <a:prstGeom prst="ellipse">
            <a:avLst/>
          </a:prstGeom>
          <a:solidFill>
            <a:srgbClr val="000000"/>
          </a:solidFill>
          <a:ln w="9525" cap="flat" cmpd="sng" algn="ctr">
            <a:no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r>
              <a:rPr lang="fr-FR" sz="1200" b="1" kern="0" dirty="0">
                <a:solidFill>
                  <a:srgbClr val="FFFFFF"/>
                </a:solidFill>
              </a:rPr>
              <a:t>1</a:t>
            </a:r>
            <a:endParaRPr lang="en-US" sz="1200" b="1" kern="0" dirty="0">
              <a:solidFill>
                <a:srgbClr val="FFFFFF"/>
              </a:solidFill>
            </a:endParaRPr>
          </a:p>
        </p:txBody>
      </p:sp>
      <p:sp>
        <p:nvSpPr>
          <p:cNvPr id="198" name="Oval 179"/>
          <p:cNvSpPr/>
          <p:nvPr/>
        </p:nvSpPr>
        <p:spPr>
          <a:xfrm>
            <a:off x="6205538" y="3616325"/>
            <a:ext cx="274637" cy="274638"/>
          </a:xfrm>
          <a:prstGeom prst="ellipse">
            <a:avLst/>
          </a:prstGeom>
          <a:solidFill>
            <a:srgbClr val="000000"/>
          </a:solidFill>
          <a:ln w="9525" cap="flat" cmpd="sng" algn="ctr">
            <a:no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r>
              <a:rPr lang="fr-FR" sz="1200" b="1" kern="0" dirty="0">
                <a:solidFill>
                  <a:srgbClr val="FFFFFF"/>
                </a:solidFill>
              </a:rPr>
              <a:t>2</a:t>
            </a:r>
            <a:endParaRPr lang="en-US" sz="1200" b="1" kern="0" dirty="0">
              <a:solidFill>
                <a:srgbClr val="FFFFFF"/>
              </a:solidFill>
            </a:endParaRPr>
          </a:p>
        </p:txBody>
      </p:sp>
      <p:sp>
        <p:nvSpPr>
          <p:cNvPr id="199" name="Oval 180"/>
          <p:cNvSpPr/>
          <p:nvPr/>
        </p:nvSpPr>
        <p:spPr>
          <a:xfrm>
            <a:off x="4897438" y="4673600"/>
            <a:ext cx="274637" cy="274638"/>
          </a:xfrm>
          <a:prstGeom prst="ellipse">
            <a:avLst/>
          </a:prstGeom>
          <a:solidFill>
            <a:srgbClr val="000000"/>
          </a:solidFill>
          <a:ln w="9525" cap="flat" cmpd="sng" algn="ctr">
            <a:no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r>
              <a:rPr lang="fr-FR" sz="1200" b="1" kern="0" dirty="0">
                <a:solidFill>
                  <a:srgbClr val="FFFFFF"/>
                </a:solidFill>
              </a:rPr>
              <a:t>3</a:t>
            </a:r>
            <a:endParaRPr lang="en-US" sz="1200" b="1" kern="0" dirty="0">
              <a:solidFill>
                <a:srgbClr val="FFFFFF"/>
              </a:solidFill>
            </a:endParaRPr>
          </a:p>
        </p:txBody>
      </p:sp>
      <p:sp>
        <p:nvSpPr>
          <p:cNvPr id="200" name="Oval 181"/>
          <p:cNvSpPr/>
          <p:nvPr/>
        </p:nvSpPr>
        <p:spPr>
          <a:xfrm>
            <a:off x="3328988" y="4673600"/>
            <a:ext cx="273050" cy="274638"/>
          </a:xfrm>
          <a:prstGeom prst="ellipse">
            <a:avLst/>
          </a:prstGeom>
          <a:solidFill>
            <a:srgbClr val="000000"/>
          </a:solidFill>
          <a:ln w="9525" cap="flat" cmpd="sng" algn="ctr">
            <a:no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r>
              <a:rPr lang="fr-FR" sz="1200" b="1" kern="0" dirty="0">
                <a:solidFill>
                  <a:srgbClr val="FFFFFF"/>
                </a:solidFill>
              </a:rPr>
              <a:t>4</a:t>
            </a:r>
            <a:endParaRPr lang="en-US" sz="1200" b="1" kern="0" dirty="0">
              <a:solidFill>
                <a:srgbClr val="FFFFFF"/>
              </a:solidFill>
            </a:endParaRPr>
          </a:p>
        </p:txBody>
      </p:sp>
      <p:sp>
        <p:nvSpPr>
          <p:cNvPr id="201" name="Oval 69"/>
          <p:cNvSpPr/>
          <p:nvPr/>
        </p:nvSpPr>
        <p:spPr>
          <a:xfrm>
            <a:off x="4057650" y="2414588"/>
            <a:ext cx="274638" cy="274637"/>
          </a:xfrm>
          <a:prstGeom prst="ellipse">
            <a:avLst/>
          </a:prstGeom>
          <a:solidFill>
            <a:srgbClr val="000000"/>
          </a:solidFill>
          <a:ln w="9525" cap="flat" cmpd="sng" algn="ctr">
            <a:no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r>
              <a:rPr lang="fr-FR" sz="1200" b="1" kern="0" dirty="0">
                <a:solidFill>
                  <a:srgbClr val="FFFFFF"/>
                </a:solidFill>
              </a:rPr>
              <a:t>6</a:t>
            </a:r>
            <a:endParaRPr lang="en-US" sz="1200" b="1" kern="0" dirty="0">
              <a:solidFill>
                <a:srgbClr val="FFFFFF"/>
              </a:solidFill>
            </a:endParaRPr>
          </a:p>
        </p:txBody>
      </p:sp>
      <p:sp>
        <p:nvSpPr>
          <p:cNvPr id="202" name="Oval 70"/>
          <p:cNvSpPr/>
          <p:nvPr/>
        </p:nvSpPr>
        <p:spPr>
          <a:xfrm>
            <a:off x="2808288" y="3570288"/>
            <a:ext cx="273050" cy="274637"/>
          </a:xfrm>
          <a:prstGeom prst="ellipse">
            <a:avLst/>
          </a:prstGeom>
          <a:solidFill>
            <a:srgbClr val="000000"/>
          </a:solidFill>
          <a:ln w="9525" cap="flat" cmpd="sng" algn="ctr">
            <a:noFill/>
            <a:prstDash val="solid"/>
          </a:ln>
          <a:effectLst>
            <a:outerShdw blurRad="40000" dist="23000" dir="5400000" rotWithShape="0">
              <a:srgbClr val="000000">
                <a:alpha val="35000"/>
              </a:srgbClr>
            </a:outerShdw>
          </a:effectLst>
        </p:spPr>
        <p:txBody>
          <a:bodyPr anchor="ctr"/>
          <a:lstStyle/>
          <a:p>
            <a:pPr algn="ctr" eaLnBrk="1" fontAlgn="auto" hangingPunct="1">
              <a:spcBef>
                <a:spcPts val="0"/>
              </a:spcBef>
              <a:spcAft>
                <a:spcPts val="0"/>
              </a:spcAft>
              <a:defRPr/>
            </a:pPr>
            <a:r>
              <a:rPr lang="fr-FR" sz="1200" b="1" kern="0" dirty="0">
                <a:solidFill>
                  <a:srgbClr val="FFFFFF"/>
                </a:solidFill>
              </a:rPr>
              <a:t>5</a:t>
            </a:r>
            <a:endParaRPr lang="en-US" sz="1200" b="1" kern="0" dirty="0">
              <a:solidFill>
                <a:srgbClr val="FFFFFF"/>
              </a:solidFill>
            </a:endParaRPr>
          </a:p>
        </p:txBody>
      </p:sp>
      <p:pic>
        <p:nvPicPr>
          <p:cNvPr id="203" name="Picture 72" descr="cadre instit.jpg"/>
          <p:cNvPicPr>
            <a:picLocks noChangeAspect="1"/>
          </p:cNvPicPr>
          <p:nvPr/>
        </p:nvPicPr>
        <p:blipFill>
          <a:blip r:embed="rId5" cstate="print">
            <a:clrChange>
              <a:clrFrom>
                <a:srgbClr val="FFFFFD"/>
              </a:clrFrom>
              <a:clrTo>
                <a:srgbClr val="FFFFFD">
                  <a:alpha val="0"/>
                </a:srgbClr>
              </a:clrTo>
            </a:clrChange>
            <a:duotone>
              <a:prstClr val="black"/>
              <a:srgbClr val="980F39">
                <a:tint val="45000"/>
                <a:satMod val="400000"/>
              </a:srgbClr>
            </a:duotone>
          </a:blip>
          <a:srcRect l="12065" t="4653" r="6037"/>
          <a:stretch>
            <a:fillRect/>
          </a:stretch>
        </p:blipFill>
        <p:spPr>
          <a:xfrm>
            <a:off x="3717323" y="3043812"/>
            <a:ext cx="562179" cy="454895"/>
          </a:xfrm>
          <a:prstGeom prst="rect">
            <a:avLst/>
          </a:prstGeom>
          <a:solidFill>
            <a:srgbClr val="0066CC">
              <a:alpha val="0"/>
            </a:srgbClr>
          </a:solidFill>
          <a:ln w="9525">
            <a:noFill/>
            <a:miter lim="800000"/>
            <a:headEnd/>
            <a:tailEnd/>
          </a:ln>
        </p:spPr>
      </p:pic>
      <p:pic>
        <p:nvPicPr>
          <p:cNvPr id="204" name="Picture 4"/>
          <p:cNvPicPr>
            <a:picLocks noChangeAspect="1" noChangeArrowheads="1"/>
          </p:cNvPicPr>
          <p:nvPr/>
        </p:nvPicPr>
        <p:blipFill>
          <a:blip r:embed="rId6" cstate="print">
            <a:clrChange>
              <a:clrFrom>
                <a:srgbClr val="FFFFFF"/>
              </a:clrFrom>
              <a:clrTo>
                <a:srgbClr val="FFFFFF">
                  <a:alpha val="0"/>
                </a:srgbClr>
              </a:clrTo>
            </a:clrChange>
            <a:duotone>
              <a:prstClr val="black"/>
              <a:srgbClr val="980F39">
                <a:tint val="45000"/>
                <a:satMod val="400000"/>
              </a:srgbClr>
            </a:duotone>
          </a:blip>
          <a:srcRect r="42573"/>
          <a:stretch>
            <a:fillRect/>
          </a:stretch>
        </p:blipFill>
        <p:spPr bwMode="auto">
          <a:xfrm>
            <a:off x="3172060" y="3741533"/>
            <a:ext cx="480842" cy="515268"/>
          </a:xfrm>
          <a:prstGeom prst="rect">
            <a:avLst/>
          </a:prstGeom>
          <a:solidFill>
            <a:srgbClr val="0066CC">
              <a:alpha val="0"/>
            </a:srgbClr>
          </a:solidFill>
          <a:ln w="9525">
            <a:noFill/>
            <a:miter lim="800000"/>
            <a:headEnd/>
            <a:tailEnd/>
          </a:ln>
        </p:spPr>
      </p:pic>
      <p:sp>
        <p:nvSpPr>
          <p:cNvPr id="153636" name="Rectangle 29"/>
          <p:cNvSpPr>
            <a:spLocks noChangeArrowheads="1"/>
          </p:cNvSpPr>
          <p:nvPr/>
        </p:nvSpPr>
        <p:spPr bwMode="gray">
          <a:xfrm>
            <a:off x="2052638" y="3894138"/>
            <a:ext cx="126682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895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895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895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895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895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rtl="1" eaLnBrk="1" hangingPunct="1">
              <a:lnSpc>
                <a:spcPct val="85000"/>
              </a:lnSpc>
              <a:spcBef>
                <a:spcPct val="0"/>
              </a:spcBef>
              <a:buClr>
                <a:srgbClr val="980F39"/>
              </a:buClr>
              <a:buFontTx/>
              <a:buNone/>
            </a:pPr>
            <a:r>
              <a:rPr lang="en-GB" altLang="fr-FR" sz="1400" b="1">
                <a:solidFill>
                  <a:srgbClr val="FFFFFF"/>
                </a:solidFill>
                <a:latin typeface="Simplified Arabic" panose="02020603050405020304" pitchFamily="18" charset="-78"/>
                <a:cs typeface="Simplified Arabic" panose="02020603050405020304" pitchFamily="18" charset="-78"/>
              </a:rPr>
              <a:t>Incentive</a:t>
            </a:r>
            <a:r>
              <a:rPr lang="fr-FR" altLang="fr-FR" sz="1400" b="1">
                <a:solidFill>
                  <a:srgbClr val="FFFFFF"/>
                </a:solidFill>
                <a:latin typeface="Simplified Arabic" panose="02020603050405020304" pitchFamily="18" charset="-78"/>
                <a:cs typeface="Simplified Arabic" panose="02020603050405020304" pitchFamily="18" charset="-78"/>
              </a:rPr>
              <a:t> </a:t>
            </a:r>
            <a:r>
              <a:rPr lang="en-GB" altLang="fr-FR" sz="1400" b="1">
                <a:solidFill>
                  <a:srgbClr val="FFFFFF"/>
                </a:solidFill>
                <a:latin typeface="Simplified Arabic" panose="02020603050405020304" pitchFamily="18" charset="-78"/>
                <a:cs typeface="Simplified Arabic" panose="02020603050405020304" pitchFamily="18" charset="-78"/>
              </a:rPr>
              <a:t>Framework</a:t>
            </a:r>
          </a:p>
        </p:txBody>
      </p:sp>
      <p:sp>
        <p:nvSpPr>
          <p:cNvPr id="206" name="Oval 77"/>
          <p:cNvSpPr/>
          <p:nvPr/>
        </p:nvSpPr>
        <p:spPr>
          <a:xfrm>
            <a:off x="3675055" y="3413464"/>
            <a:ext cx="1951671" cy="997527"/>
          </a:xfrm>
          <a:prstGeom prst="ellipse">
            <a:avLst/>
          </a:prstGeom>
          <a:solidFill>
            <a:srgbClr val="FFFFFF"/>
          </a:solidFill>
          <a:ln w="25400" cap="flat" cmpd="sng" algn="ctr">
            <a:noFill/>
            <a:prstDash val="solid"/>
          </a:ln>
          <a:effectLst/>
          <a:scene3d>
            <a:camera prst="orthographicFront">
              <a:rot lat="0" lon="0" rev="0"/>
            </a:camera>
            <a:lightRig rig="contrasting" dir="t">
              <a:rot lat="0" lon="0" rev="1500000"/>
            </a:lightRig>
          </a:scene3d>
          <a:sp3d prstMaterial="metal">
            <a:bevelT w="88900" h="88900"/>
          </a:sp3d>
        </p:spPr>
        <p:txBody>
          <a:bodyPr lIns="0" rIns="0" anchor="ctr"/>
          <a:lstStyle/>
          <a:p>
            <a:pPr algn="ctr" eaLnBrk="1" fontAlgn="auto" hangingPunct="1">
              <a:spcBef>
                <a:spcPts val="0"/>
              </a:spcBef>
              <a:spcAft>
                <a:spcPts val="0"/>
              </a:spcAft>
              <a:defRPr/>
            </a:pPr>
            <a:r>
              <a:rPr lang="en-US" sz="1100" b="1" kern="0" dirty="0">
                <a:solidFill>
                  <a:srgbClr val="000000"/>
                </a:solidFill>
              </a:rPr>
              <a:t>Improving the attractiveness of the Tunisian site as an investment destination</a:t>
            </a:r>
          </a:p>
        </p:txBody>
      </p:sp>
      <p:sp>
        <p:nvSpPr>
          <p:cNvPr id="207" name="Freeform 23"/>
          <p:cNvSpPr>
            <a:spLocks/>
          </p:cNvSpPr>
          <p:nvPr/>
        </p:nvSpPr>
        <p:spPr bwMode="auto">
          <a:xfrm>
            <a:off x="2027238" y="2020888"/>
            <a:ext cx="2620962" cy="1114425"/>
          </a:xfrm>
          <a:custGeom>
            <a:avLst/>
            <a:gdLst>
              <a:gd name="T0" fmla="*/ 0 w 2602"/>
              <a:gd name="T1" fmla="*/ 2147483647 h 1873"/>
              <a:gd name="T2" fmla="*/ 2147483647 w 2602"/>
              <a:gd name="T3" fmla="*/ 2147483647 h 1873"/>
              <a:gd name="T4" fmla="*/ 2147483647 w 2602"/>
              <a:gd name="T5" fmla="*/ 2147483647 h 1873"/>
              <a:gd name="T6" fmla="*/ 2147483647 w 2602"/>
              <a:gd name="T7" fmla="*/ 0 h 1873"/>
              <a:gd name="T8" fmla="*/ 2147483647 w 2602"/>
              <a:gd name="T9" fmla="*/ 2147483647 h 1873"/>
              <a:gd name="T10" fmla="*/ 2147483647 w 2602"/>
              <a:gd name="T11" fmla="*/ 2147483647 h 1873"/>
              <a:gd name="T12" fmla="*/ 2147483647 w 2602"/>
              <a:gd name="T13" fmla="*/ 2147483647 h 1873"/>
              <a:gd name="T14" fmla="*/ 2147483647 w 2602"/>
              <a:gd name="T15" fmla="*/ 2147483647 h 1873"/>
              <a:gd name="T16" fmla="*/ 2147483647 w 2602"/>
              <a:gd name="T17" fmla="*/ 2147483647 h 1873"/>
              <a:gd name="T18" fmla="*/ 0 w 2602"/>
              <a:gd name="T19" fmla="*/ 2147483647 h 18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02" h="1873">
                <a:moveTo>
                  <a:pt x="0" y="1709"/>
                </a:moveTo>
                <a:cubicBezTo>
                  <a:pt x="488" y="862"/>
                  <a:pt x="1358" y="306"/>
                  <a:pt x="2332" y="218"/>
                </a:cubicBezTo>
                <a:lnTo>
                  <a:pt x="2332" y="0"/>
                </a:lnTo>
                <a:lnTo>
                  <a:pt x="2602" y="370"/>
                </a:lnTo>
                <a:lnTo>
                  <a:pt x="2332" y="765"/>
                </a:lnTo>
                <a:lnTo>
                  <a:pt x="2332" y="548"/>
                </a:lnTo>
                <a:cubicBezTo>
                  <a:pt x="1476" y="635"/>
                  <a:pt x="714" y="1128"/>
                  <a:pt x="284" y="1873"/>
                </a:cubicBezTo>
                <a:lnTo>
                  <a:pt x="0" y="1709"/>
                </a:lnTo>
                <a:close/>
              </a:path>
            </a:pathLst>
          </a:custGeom>
          <a:solidFill>
            <a:srgbClr val="E0E0E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1" fontAlgn="auto" hangingPunct="1">
              <a:spcBef>
                <a:spcPts val="0"/>
              </a:spcBef>
              <a:spcAft>
                <a:spcPts val="0"/>
              </a:spcAft>
              <a:defRPr/>
            </a:pPr>
            <a:endParaRPr lang="fr-FR" kern="0">
              <a:solidFill>
                <a:sysClr val="windowText" lastClr="000000"/>
              </a:solidFill>
            </a:endParaRPr>
          </a:p>
        </p:txBody>
      </p:sp>
      <p:pic>
        <p:nvPicPr>
          <p:cNvPr id="208" name="Picture 3" descr="C:\Users\skhelifi\Desktop\For SK\Karim\World Bank\WB-M03bis\2. Document in progress\Picture1.png"/>
          <p:cNvPicPr>
            <a:picLocks noChangeAspect="1" noChangeArrowheads="1"/>
          </p:cNvPicPr>
          <p:nvPr/>
        </p:nvPicPr>
        <p:blipFill>
          <a:blip r:embed="rId7">
            <a:duotone>
              <a:srgbClr val="000000">
                <a:shade val="45000"/>
                <a:satMod val="135000"/>
              </a:srgbClr>
              <a:prstClr val="white"/>
            </a:duotone>
          </a:blip>
          <a:srcRect/>
          <a:stretch>
            <a:fillRect/>
          </a:stretch>
        </p:blipFill>
        <p:spPr bwMode="auto">
          <a:xfrm>
            <a:off x="5720155" y="3787165"/>
            <a:ext cx="420687" cy="500063"/>
          </a:xfrm>
          <a:prstGeom prst="rect">
            <a:avLst/>
          </a:prstGeom>
          <a:noFill/>
        </p:spPr>
      </p:pic>
      <p:cxnSp>
        <p:nvCxnSpPr>
          <p:cNvPr id="153642" name="Straight Connector 46"/>
          <p:cNvCxnSpPr>
            <a:cxnSpLocks noChangeShapeType="1"/>
          </p:cNvCxnSpPr>
          <p:nvPr/>
        </p:nvCxnSpPr>
        <p:spPr bwMode="auto">
          <a:xfrm rot="5400000" flipH="1" flipV="1">
            <a:off x="3806825" y="2516188"/>
            <a:ext cx="1741487" cy="52388"/>
          </a:xfrm>
          <a:prstGeom prst="line">
            <a:avLst/>
          </a:prstGeom>
          <a:noFill/>
          <a:ln w="28575" algn="ctr">
            <a:solidFill>
              <a:srgbClr val="E51B2E"/>
            </a:solidFill>
            <a:prstDash val="dash"/>
            <a:round/>
            <a:headEnd/>
            <a:tailEnd/>
          </a:ln>
          <a:extLst>
            <a:ext uri="{909E8E84-426E-40DD-AFC4-6F175D3DCCD1}">
              <a14:hiddenFill xmlns:a14="http://schemas.microsoft.com/office/drawing/2010/main">
                <a:noFill/>
              </a14:hiddenFill>
            </a:ext>
          </a:extLst>
        </p:spPr>
      </p:cxnSp>
      <p:cxnSp>
        <p:nvCxnSpPr>
          <p:cNvPr id="153643" name="Straight Connector 51"/>
          <p:cNvCxnSpPr>
            <a:cxnSpLocks noChangeShapeType="1"/>
          </p:cNvCxnSpPr>
          <p:nvPr/>
        </p:nvCxnSpPr>
        <p:spPr bwMode="auto">
          <a:xfrm flipV="1">
            <a:off x="1525588" y="4265613"/>
            <a:ext cx="2435225" cy="847725"/>
          </a:xfrm>
          <a:prstGeom prst="line">
            <a:avLst/>
          </a:prstGeom>
          <a:noFill/>
          <a:ln w="28575" algn="ctr">
            <a:solidFill>
              <a:srgbClr val="C00000"/>
            </a:solidFill>
            <a:prstDash val="dash"/>
            <a:round/>
            <a:headEnd/>
            <a:tailEnd/>
          </a:ln>
          <a:extLst>
            <a:ext uri="{909E8E84-426E-40DD-AFC4-6F175D3DCCD1}">
              <a14:hiddenFill xmlns:a14="http://schemas.microsoft.com/office/drawing/2010/main">
                <a:noFill/>
              </a14:hiddenFill>
            </a:ext>
          </a:extLst>
        </p:spPr>
      </p:cxnSp>
      <p:pic>
        <p:nvPicPr>
          <p:cNvPr id="211" name="Picture 4" descr="http://api.ning.com/files/hggxOL8pncQwQWBgnGio9LDCc4CylBcjgDmg7UOtvH5AACwRizLEzvbQ5hX48-1u0W3jb0XxzeFATX4Pld30FXOvPX9aj*HB/dd_safezone.gif"/>
          <p:cNvPicPr>
            <a:picLocks noChangeAspect="1" noChangeArrowheads="1"/>
          </p:cNvPicPr>
          <p:nvPr/>
        </p:nvPicPr>
        <p:blipFill>
          <a:blip r:embed="rId8">
            <a:duotone>
              <a:srgbClr val="000000">
                <a:shade val="45000"/>
                <a:satMod val="135000"/>
              </a:srgbClr>
              <a:prstClr val="white"/>
            </a:duotone>
          </a:blip>
          <a:srcRect/>
          <a:stretch>
            <a:fillRect/>
          </a:stretch>
        </p:blipFill>
        <p:spPr bwMode="auto">
          <a:xfrm>
            <a:off x="5271154" y="3044583"/>
            <a:ext cx="592571" cy="592571"/>
          </a:xfrm>
          <a:prstGeom prst="rect">
            <a:avLst/>
          </a:prstGeom>
          <a:noFill/>
        </p:spPr>
      </p:pic>
      <p:sp>
        <p:nvSpPr>
          <p:cNvPr id="222" name="Oval 59"/>
          <p:cNvSpPr/>
          <p:nvPr/>
        </p:nvSpPr>
        <p:spPr bwMode="auto">
          <a:xfrm>
            <a:off x="919163" y="1525588"/>
            <a:ext cx="7891462" cy="4772025"/>
          </a:xfrm>
          <a:prstGeom prst="ellipse">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n>
                <a:solidFill>
                  <a:srgbClr val="C00000"/>
                </a:solidFill>
              </a:ln>
              <a:solidFill>
                <a:srgbClr val="FFFFFF"/>
              </a:solidFill>
            </a:endParaRPr>
          </a:p>
        </p:txBody>
      </p:sp>
      <p:sp>
        <p:nvSpPr>
          <p:cNvPr id="223" name="Rectangle 222"/>
          <p:cNvSpPr/>
          <p:nvPr/>
        </p:nvSpPr>
        <p:spPr>
          <a:xfrm>
            <a:off x="4768850" y="1423988"/>
            <a:ext cx="3403600" cy="495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4" name="Ellipse 223"/>
          <p:cNvSpPr/>
          <p:nvPr/>
        </p:nvSpPr>
        <p:spPr>
          <a:xfrm rot="920834">
            <a:off x="6781800" y="1847850"/>
            <a:ext cx="2071688" cy="105568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5" name="Ellipse 224"/>
          <p:cNvSpPr/>
          <p:nvPr/>
        </p:nvSpPr>
        <p:spPr>
          <a:xfrm rot="1587757">
            <a:off x="1385888" y="5422900"/>
            <a:ext cx="2363787" cy="635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6" name="Ellipse 225"/>
          <p:cNvSpPr/>
          <p:nvPr/>
        </p:nvSpPr>
        <p:spPr>
          <a:xfrm>
            <a:off x="3336925" y="6057900"/>
            <a:ext cx="4121150" cy="39528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7" name="Rectangle à coins arrondis 226"/>
          <p:cNvSpPr/>
          <p:nvPr/>
        </p:nvSpPr>
        <p:spPr>
          <a:xfrm>
            <a:off x="8388350" y="2865438"/>
            <a:ext cx="522288" cy="23876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8" name="Rectangle à coins arrondis 227"/>
          <p:cNvSpPr/>
          <p:nvPr/>
        </p:nvSpPr>
        <p:spPr>
          <a:xfrm rot="20411838">
            <a:off x="6299200" y="5341938"/>
            <a:ext cx="2246313" cy="5302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2"/>
          <p:cNvSpPr/>
          <p:nvPr/>
        </p:nvSpPr>
        <p:spPr>
          <a:xfrm rot="10800000" flipH="1">
            <a:off x="-30163" y="1331913"/>
            <a:ext cx="601663" cy="5192712"/>
          </a:xfrm>
          <a:prstGeom prst="homePlate">
            <a:avLst/>
          </a:prstGeom>
          <a:solidFill>
            <a:srgbClr val="002060"/>
          </a:solidFill>
          <a:ln w="25400" cap="flat" cmpd="sng" algn="ctr">
            <a:noFill/>
            <a:prstDash val="solid"/>
          </a:ln>
          <a:effectLst/>
        </p:spPr>
        <p:txBody>
          <a:bodyPr anchor="ctr"/>
          <a:lstStyle/>
          <a:p>
            <a:pPr algn="ctr" rtl="1" eaLnBrk="1" fontAlgn="auto" hangingPunct="1">
              <a:spcBef>
                <a:spcPts val="0"/>
              </a:spcBef>
              <a:spcAft>
                <a:spcPts val="0"/>
              </a:spcAft>
              <a:defRPr/>
            </a:pPr>
            <a:endParaRPr lang="en-US" kern="0">
              <a:solidFill>
                <a:srgbClr val="FFFFFF"/>
              </a:solidFill>
              <a:latin typeface="Simplified Arabic"/>
              <a:cs typeface="Simplified Arabic"/>
            </a:endParaRPr>
          </a:p>
        </p:txBody>
      </p:sp>
      <p:sp>
        <p:nvSpPr>
          <p:cNvPr id="13" name="Rectangle 12"/>
          <p:cNvSpPr/>
          <p:nvPr/>
        </p:nvSpPr>
        <p:spPr>
          <a:xfrm>
            <a:off x="571500" y="1382713"/>
            <a:ext cx="2324100" cy="5192712"/>
          </a:xfrm>
          <a:prstGeom prst="rect">
            <a:avLst/>
          </a:prstGeom>
          <a:solidFill>
            <a:schemeClr val="accent5">
              <a:lumMod val="20000"/>
              <a:lumOff val="80000"/>
            </a:schemeClr>
          </a:solidFill>
          <a:ln w="9525" cap="flat" cmpd="sng" algn="ctr">
            <a:solidFill>
              <a:srgbClr val="002060"/>
            </a:solidFill>
            <a:prstDash val="solid"/>
          </a:ln>
          <a:effectLst/>
        </p:spPr>
        <p:txBody>
          <a:bodyPr lIns="0" rIns="0" anchor="ctr"/>
          <a:lstStyle/>
          <a:p>
            <a:pPr marL="628650" lvl="2" eaLnBrk="1" fontAlgn="auto" hangingPunct="1">
              <a:spcBef>
                <a:spcPts val="0"/>
              </a:spcBef>
              <a:spcAft>
                <a:spcPts val="0"/>
              </a:spcAft>
              <a:defRPr/>
            </a:pPr>
            <a:r>
              <a:rPr lang="en-US" kern="0" dirty="0">
                <a:solidFill>
                  <a:srgbClr val="000000">
                    <a:lumMod val="75000"/>
                    <a:lumOff val="25000"/>
                  </a:srgbClr>
                </a:solidFill>
                <a:latin typeface="Century Gothic" charset="0"/>
                <a:ea typeface="Century Gothic" charset="0"/>
                <a:cs typeface="Simplified Arabic"/>
              </a:rPr>
              <a:t>A more </a:t>
            </a:r>
            <a:r>
              <a:rPr lang="en-US" b="1" kern="0" dirty="0">
                <a:solidFill>
                  <a:srgbClr val="000000">
                    <a:lumMod val="75000"/>
                    <a:lumOff val="25000"/>
                  </a:srgbClr>
                </a:solidFill>
                <a:latin typeface="Century Gothic" charset="0"/>
                <a:ea typeface="Century Gothic" charset="0"/>
                <a:cs typeface="Simplified Arabic"/>
              </a:rPr>
              <a:t>diversified </a:t>
            </a:r>
            <a:r>
              <a:rPr lang="en-US" kern="0" dirty="0">
                <a:solidFill>
                  <a:srgbClr val="000000">
                    <a:lumMod val="75000"/>
                    <a:lumOff val="25000"/>
                  </a:srgbClr>
                </a:solidFill>
                <a:latin typeface="Century Gothic" charset="0"/>
                <a:ea typeface="Century Gothic" charset="0"/>
                <a:cs typeface="Simplified Arabic"/>
              </a:rPr>
              <a:t>economic fabric with a strong potential for Job Creation</a:t>
            </a:r>
          </a:p>
          <a:p>
            <a:pPr marL="628650" lvl="2" algn="ctr" rtl="1" eaLnBrk="1" fontAlgn="auto" hangingPunct="1">
              <a:spcBef>
                <a:spcPts val="0"/>
              </a:spcBef>
              <a:spcAft>
                <a:spcPts val="0"/>
              </a:spcAft>
              <a:defRPr/>
            </a:pPr>
            <a:endParaRPr lang="en-US" b="1" kern="0" dirty="0">
              <a:solidFill>
                <a:srgbClr val="000000"/>
              </a:solidFill>
            </a:endParaRPr>
          </a:p>
        </p:txBody>
      </p:sp>
      <p:sp>
        <p:nvSpPr>
          <p:cNvPr id="14" name="Rectangle 13"/>
          <p:cNvSpPr/>
          <p:nvPr/>
        </p:nvSpPr>
        <p:spPr>
          <a:xfrm>
            <a:off x="3135313" y="5497513"/>
            <a:ext cx="2200275" cy="1023937"/>
          </a:xfrm>
          <a:prstGeom prst="rect">
            <a:avLst/>
          </a:prstGeom>
          <a:solidFill>
            <a:srgbClr val="FFFFFF"/>
          </a:solidFill>
          <a:ln w="9525" cap="flat" cmpd="sng" algn="ctr">
            <a:solidFill>
              <a:srgbClr val="002060"/>
            </a:solidFill>
            <a:prstDash val="solid"/>
          </a:ln>
          <a:effectLst/>
        </p:spPr>
        <p:txBody>
          <a:bodyPr lIns="0" rIns="0" anchor="ctr"/>
          <a:lstStyle/>
          <a:p>
            <a:pPr marL="265113" lvl="3" indent="-179388" eaLnBrk="1" fontAlgn="auto" hangingPunct="1">
              <a:spcBef>
                <a:spcPts val="0"/>
              </a:spcBef>
              <a:spcAft>
                <a:spcPts val="300"/>
              </a:spcAft>
              <a:defRPr/>
            </a:pPr>
            <a:r>
              <a:rPr lang="fr-FR" sz="1400" kern="0" dirty="0">
                <a:solidFill>
                  <a:srgbClr val="000000"/>
                </a:solidFill>
              </a:rPr>
              <a:t>6. </a:t>
            </a:r>
            <a:r>
              <a:rPr lang="en-US" sz="1400" kern="0" dirty="0">
                <a:solidFill>
                  <a:srgbClr val="000000">
                    <a:lumMod val="75000"/>
                    <a:lumOff val="25000"/>
                  </a:srgbClr>
                </a:solidFill>
                <a:latin typeface="Century Gothic" charset="0"/>
                <a:ea typeface="Century Gothic" charset="0"/>
                <a:cs typeface="Simplified Arabic"/>
              </a:rPr>
              <a:t>Position in the global value chain, promote promising sectors and enhance export</a:t>
            </a:r>
            <a:endParaRPr lang="ar-TN" sz="1400" kern="0" dirty="0">
              <a:solidFill>
                <a:srgbClr val="000000">
                  <a:lumMod val="75000"/>
                  <a:lumOff val="25000"/>
                </a:srgbClr>
              </a:solidFill>
              <a:latin typeface="Century Gothic" charset="0"/>
              <a:ea typeface="Century Gothic" charset="0"/>
              <a:cs typeface="Simplified Arabic"/>
            </a:endParaRPr>
          </a:p>
        </p:txBody>
      </p:sp>
      <p:sp>
        <p:nvSpPr>
          <p:cNvPr id="15" name="Rectangle 14"/>
          <p:cNvSpPr/>
          <p:nvPr/>
        </p:nvSpPr>
        <p:spPr>
          <a:xfrm>
            <a:off x="3135313" y="1490663"/>
            <a:ext cx="2200275" cy="541337"/>
          </a:xfrm>
          <a:prstGeom prst="rect">
            <a:avLst/>
          </a:prstGeom>
          <a:solidFill>
            <a:srgbClr val="FFFFFF"/>
          </a:solidFill>
          <a:ln w="9525" cap="flat" cmpd="sng" algn="ctr">
            <a:solidFill>
              <a:srgbClr val="002060"/>
            </a:solidFill>
            <a:prstDash val="solid"/>
          </a:ln>
          <a:effectLst/>
        </p:spPr>
        <p:txBody>
          <a:bodyPr lIns="0" rIns="0" anchor="ctr"/>
          <a:lstStyle/>
          <a:p>
            <a:pPr marL="180975" lvl="3" indent="-95250" eaLnBrk="1" fontAlgn="auto" hangingPunct="1">
              <a:spcBef>
                <a:spcPts val="0"/>
              </a:spcBef>
              <a:spcAft>
                <a:spcPts val="300"/>
              </a:spcAft>
              <a:defRPr/>
            </a:pPr>
            <a:r>
              <a:rPr lang="en-US" sz="1400" kern="0" dirty="0">
                <a:solidFill>
                  <a:srgbClr val="000000"/>
                </a:solidFill>
              </a:rPr>
              <a:t>1. </a:t>
            </a:r>
            <a:r>
              <a:rPr lang="en-US" sz="1400" kern="0" dirty="0">
                <a:solidFill>
                  <a:srgbClr val="000000">
                    <a:lumMod val="75000"/>
                    <a:lumOff val="25000"/>
                  </a:srgbClr>
                </a:solidFill>
                <a:latin typeface="Century Gothic" charset="0"/>
                <a:ea typeface="Century Gothic" charset="0"/>
                <a:cs typeface="Simplified Arabic"/>
              </a:rPr>
              <a:t>Regional Development</a:t>
            </a:r>
          </a:p>
        </p:txBody>
      </p:sp>
      <p:sp>
        <p:nvSpPr>
          <p:cNvPr id="16" name="Rectangle 15"/>
          <p:cNvSpPr/>
          <p:nvPr/>
        </p:nvSpPr>
        <p:spPr>
          <a:xfrm>
            <a:off x="3144838" y="2928938"/>
            <a:ext cx="2198687" cy="577850"/>
          </a:xfrm>
          <a:prstGeom prst="rect">
            <a:avLst/>
          </a:prstGeom>
          <a:solidFill>
            <a:srgbClr val="FFFFFF"/>
          </a:solidFill>
          <a:ln w="9525" cap="flat" cmpd="sng" algn="ctr">
            <a:solidFill>
              <a:srgbClr val="002060"/>
            </a:solidFill>
            <a:prstDash val="solid"/>
          </a:ln>
          <a:effectLst/>
        </p:spPr>
        <p:txBody>
          <a:bodyPr lIns="0" rIns="0" anchor="ctr"/>
          <a:lstStyle/>
          <a:p>
            <a:pPr marL="265113" lvl="3" indent="-179388" eaLnBrk="1" fontAlgn="auto" hangingPunct="1">
              <a:spcBef>
                <a:spcPts val="0"/>
              </a:spcBef>
              <a:spcAft>
                <a:spcPts val="300"/>
              </a:spcAft>
              <a:defRPr/>
            </a:pPr>
            <a:r>
              <a:rPr lang="en-US" sz="1400" kern="0" dirty="0">
                <a:solidFill>
                  <a:srgbClr val="000000"/>
                </a:solidFill>
              </a:rPr>
              <a:t>3. </a:t>
            </a:r>
            <a:r>
              <a:rPr lang="en-US" sz="1400" kern="0" dirty="0">
                <a:solidFill>
                  <a:srgbClr val="000000">
                    <a:lumMod val="75000"/>
                    <a:lumOff val="25000"/>
                  </a:srgbClr>
                </a:solidFill>
                <a:latin typeface="Century Gothic" charset="0"/>
                <a:ea typeface="Century Gothic" charset="0"/>
                <a:cs typeface="Simplified Arabic"/>
              </a:rPr>
              <a:t>innovation and creativity</a:t>
            </a:r>
          </a:p>
        </p:txBody>
      </p:sp>
      <p:sp>
        <p:nvSpPr>
          <p:cNvPr id="17" name="Rectangle 16"/>
          <p:cNvSpPr/>
          <p:nvPr/>
        </p:nvSpPr>
        <p:spPr>
          <a:xfrm>
            <a:off x="3144838" y="3621088"/>
            <a:ext cx="2198687" cy="911225"/>
          </a:xfrm>
          <a:prstGeom prst="rect">
            <a:avLst/>
          </a:prstGeom>
          <a:solidFill>
            <a:srgbClr val="FFFFFF"/>
          </a:solidFill>
          <a:ln w="9525" cap="flat" cmpd="sng" algn="ctr">
            <a:solidFill>
              <a:srgbClr val="002060"/>
            </a:solidFill>
            <a:prstDash val="solid"/>
          </a:ln>
          <a:effectLst/>
        </p:spPr>
        <p:txBody>
          <a:bodyPr lIns="0" rIns="0" anchor="ctr"/>
          <a:lstStyle/>
          <a:p>
            <a:pPr marL="265113" lvl="3" indent="-179388" eaLnBrk="1" fontAlgn="auto" hangingPunct="1">
              <a:spcBef>
                <a:spcPts val="0"/>
              </a:spcBef>
              <a:spcAft>
                <a:spcPts val="300"/>
              </a:spcAft>
              <a:defRPr/>
            </a:pPr>
            <a:r>
              <a:rPr lang="en-US" sz="1400" kern="0" dirty="0">
                <a:solidFill>
                  <a:srgbClr val="000000"/>
                </a:solidFill>
              </a:rPr>
              <a:t>4. S</a:t>
            </a:r>
            <a:r>
              <a:rPr lang="en-US" sz="1400" kern="0" dirty="0">
                <a:solidFill>
                  <a:srgbClr val="000000">
                    <a:lumMod val="75000"/>
                    <a:lumOff val="25000"/>
                  </a:srgbClr>
                </a:solidFill>
                <a:latin typeface="Century Gothic" charset="0"/>
                <a:ea typeface="Century Gothic" charset="0"/>
                <a:cs typeface="Simplified Arabic"/>
              </a:rPr>
              <a:t>ustainable economic systems</a:t>
            </a:r>
          </a:p>
        </p:txBody>
      </p:sp>
      <p:sp>
        <p:nvSpPr>
          <p:cNvPr id="18" name="Rectangle 17"/>
          <p:cNvSpPr/>
          <p:nvPr/>
        </p:nvSpPr>
        <p:spPr>
          <a:xfrm>
            <a:off x="3135313" y="4637088"/>
            <a:ext cx="2200275" cy="755650"/>
          </a:xfrm>
          <a:prstGeom prst="rect">
            <a:avLst/>
          </a:prstGeom>
          <a:solidFill>
            <a:srgbClr val="FFFFFF"/>
          </a:solidFill>
          <a:ln w="9525" cap="flat" cmpd="sng" algn="ctr">
            <a:solidFill>
              <a:srgbClr val="002060"/>
            </a:solidFill>
            <a:prstDash val="solid"/>
          </a:ln>
          <a:effectLst/>
        </p:spPr>
        <p:txBody>
          <a:bodyPr lIns="0" rIns="0" anchor="ctr"/>
          <a:lstStyle/>
          <a:p>
            <a:pPr marL="265113" lvl="3" indent="-179388" eaLnBrk="1" fontAlgn="auto" hangingPunct="1">
              <a:spcBef>
                <a:spcPts val="0"/>
              </a:spcBef>
              <a:spcAft>
                <a:spcPts val="300"/>
              </a:spcAft>
              <a:defRPr/>
            </a:pPr>
            <a:r>
              <a:rPr lang="en-US" sz="1400" kern="0" dirty="0">
                <a:solidFill>
                  <a:srgbClr val="000000"/>
                </a:solidFill>
              </a:rPr>
              <a:t>5. </a:t>
            </a:r>
            <a:r>
              <a:rPr lang="en-US" sz="1400" kern="0" dirty="0">
                <a:solidFill>
                  <a:srgbClr val="000000">
                    <a:lumMod val="75000"/>
                    <a:lumOff val="25000"/>
                  </a:srgbClr>
                </a:solidFill>
                <a:latin typeface="Century Gothic" charset="0"/>
                <a:ea typeface="Century Gothic" charset="0"/>
                <a:cs typeface="Simplified Arabic"/>
              </a:rPr>
              <a:t>Productivity</a:t>
            </a:r>
          </a:p>
        </p:txBody>
      </p:sp>
      <p:sp>
        <p:nvSpPr>
          <p:cNvPr id="19" name="Rectangle 18"/>
          <p:cNvSpPr/>
          <p:nvPr/>
        </p:nvSpPr>
        <p:spPr>
          <a:xfrm>
            <a:off x="3144838" y="2144713"/>
            <a:ext cx="2198687" cy="682625"/>
          </a:xfrm>
          <a:prstGeom prst="rect">
            <a:avLst/>
          </a:prstGeom>
          <a:solidFill>
            <a:srgbClr val="FFFFFF"/>
          </a:solidFill>
          <a:ln w="9525" cap="flat" cmpd="sng" algn="ctr">
            <a:solidFill>
              <a:srgbClr val="002060"/>
            </a:solidFill>
            <a:prstDash val="solid"/>
          </a:ln>
          <a:effectLst/>
        </p:spPr>
        <p:txBody>
          <a:bodyPr lIns="0" rIns="0" anchor="ctr"/>
          <a:lstStyle/>
          <a:p>
            <a:pPr marL="265113" lvl="3" indent="-179388" eaLnBrk="1" fontAlgn="auto" hangingPunct="1">
              <a:spcBef>
                <a:spcPts val="0"/>
              </a:spcBef>
              <a:spcAft>
                <a:spcPts val="300"/>
              </a:spcAft>
              <a:defRPr/>
            </a:pPr>
            <a:r>
              <a:rPr lang="en-US" sz="1400" kern="0" dirty="0">
                <a:solidFill>
                  <a:srgbClr val="000000"/>
                </a:solidFill>
              </a:rPr>
              <a:t>2. </a:t>
            </a:r>
            <a:r>
              <a:rPr lang="en-US" sz="1400" kern="0" dirty="0">
                <a:solidFill>
                  <a:srgbClr val="000000">
                    <a:lumMod val="75000"/>
                    <a:lumOff val="25000"/>
                  </a:srgbClr>
                </a:solidFill>
                <a:latin typeface="Century Gothic" charset="0"/>
                <a:ea typeface="Century Gothic" charset="0"/>
                <a:cs typeface="Simplified Arabic"/>
              </a:rPr>
              <a:t>Job creation and employability </a:t>
            </a:r>
          </a:p>
        </p:txBody>
      </p:sp>
      <p:sp>
        <p:nvSpPr>
          <p:cNvPr id="20" name="Rectangle 19"/>
          <p:cNvSpPr/>
          <p:nvPr/>
        </p:nvSpPr>
        <p:spPr>
          <a:xfrm>
            <a:off x="5873750" y="1525588"/>
            <a:ext cx="3127375" cy="954087"/>
          </a:xfrm>
          <a:prstGeom prst="rect">
            <a:avLst/>
          </a:prstGeom>
          <a:solidFill>
            <a:srgbClr val="002060"/>
          </a:solidFill>
          <a:ln>
            <a:solidFill>
              <a:srgbClr val="000000"/>
            </a:solidFill>
          </a:ln>
        </p:spPr>
        <p:txBody>
          <a:bodyPr>
            <a:spAutoFit/>
          </a:bodyPr>
          <a:lstStyle/>
          <a:p>
            <a:pPr algn="just" eaLnBrk="1" fontAlgn="auto" hangingPunct="1">
              <a:spcBef>
                <a:spcPts val="0"/>
              </a:spcBef>
              <a:spcAft>
                <a:spcPts val="600"/>
              </a:spcAft>
              <a:defRPr/>
            </a:pPr>
            <a:r>
              <a:rPr lang="en-GB" sz="1400" b="1" kern="0" dirty="0">
                <a:solidFill>
                  <a:schemeClr val="tx2"/>
                </a:solidFill>
                <a:latin typeface="Century Gothic" panose="020B0502020202020204" pitchFamily="34" charset="0"/>
              </a:rPr>
              <a:t>Objectives: </a:t>
            </a:r>
            <a:r>
              <a:rPr lang="en-GB" sz="1400" kern="0" dirty="0">
                <a:solidFill>
                  <a:schemeClr val="tx2"/>
                </a:solidFill>
                <a:latin typeface="Century Gothic" panose="020B0502020202020204" pitchFamily="34" charset="0"/>
              </a:rPr>
              <a:t>P</a:t>
            </a:r>
            <a:r>
              <a:rPr lang="en-GB" sz="1400" kern="0" dirty="0" err="1">
                <a:solidFill>
                  <a:schemeClr val="tx2"/>
                </a:solidFill>
                <a:latin typeface="Century Gothic" panose="020B0502020202020204" pitchFamily="34" charset="0"/>
              </a:rPr>
              <a:t>romote</a:t>
            </a:r>
            <a:r>
              <a:rPr lang="en-GB" sz="1400" kern="0" dirty="0">
                <a:solidFill>
                  <a:schemeClr val="tx2"/>
                </a:solidFill>
                <a:latin typeface="Century Gothic" panose="020B0502020202020204" pitchFamily="34" charset="0"/>
              </a:rPr>
              <a:t> investment and encourage enterprise creation and development specifically through</a:t>
            </a:r>
            <a:r>
              <a:rPr lang="en-GB" sz="1400" b="1" kern="0" dirty="0">
                <a:solidFill>
                  <a:schemeClr val="tx2"/>
                </a:solidFill>
                <a:latin typeface="Century Gothic" panose="020B0502020202020204" pitchFamily="34" charset="0"/>
              </a:rPr>
              <a:t>:</a:t>
            </a:r>
          </a:p>
        </p:txBody>
      </p:sp>
      <p:sp>
        <p:nvSpPr>
          <p:cNvPr id="21" name="Rectangle 20"/>
          <p:cNvSpPr/>
          <p:nvPr/>
        </p:nvSpPr>
        <p:spPr>
          <a:xfrm>
            <a:off x="5865813" y="2805113"/>
            <a:ext cx="3143250" cy="3554412"/>
          </a:xfrm>
          <a:prstGeom prst="rect">
            <a:avLst/>
          </a:prstGeom>
          <a:solidFill>
            <a:srgbClr val="FFFFFF">
              <a:lumMod val="95000"/>
            </a:srgbClr>
          </a:solidFill>
          <a:ln>
            <a:solidFill>
              <a:srgbClr val="000000"/>
            </a:solidFill>
          </a:ln>
        </p:spPr>
        <p:txBody>
          <a:bodyPr>
            <a:spAutoFit/>
          </a:bodyPr>
          <a:lstStyle/>
          <a:p>
            <a:pPr marL="144000" indent="-457200" eaLnBrk="1" fontAlgn="auto" hangingPunct="1">
              <a:spcBef>
                <a:spcPts val="0"/>
              </a:spcBef>
              <a:spcAft>
                <a:spcPts val="600"/>
              </a:spcAft>
              <a:defRPr/>
            </a:pPr>
            <a:r>
              <a:rPr lang="en-US" sz="1400" kern="0" dirty="0">
                <a:solidFill>
                  <a:srgbClr val="000000"/>
                </a:solidFill>
                <a:latin typeface="Century Gothic" panose="020B0502020202020204" pitchFamily="34" charset="0"/>
              </a:rPr>
              <a:t>1. Increasing the </a:t>
            </a:r>
            <a:r>
              <a:rPr lang="en-US" sz="1400" b="1" kern="0" dirty="0">
                <a:solidFill>
                  <a:srgbClr val="000000"/>
                </a:solidFill>
                <a:latin typeface="Century Gothic" panose="020B0502020202020204" pitchFamily="34" charset="0"/>
              </a:rPr>
              <a:t>value added</a:t>
            </a:r>
            <a:r>
              <a:rPr lang="en-US" sz="1400" kern="0" dirty="0">
                <a:solidFill>
                  <a:srgbClr val="000000"/>
                </a:solidFill>
                <a:latin typeface="Century Gothic" panose="020B0502020202020204" pitchFamily="34" charset="0"/>
              </a:rPr>
              <a:t>, </a:t>
            </a:r>
            <a:r>
              <a:rPr lang="en-US" sz="1400" b="1" kern="0" dirty="0">
                <a:solidFill>
                  <a:srgbClr val="000000"/>
                </a:solidFill>
                <a:latin typeface="Century Gothic" panose="020B0502020202020204" pitchFamily="34" charset="0"/>
              </a:rPr>
              <a:t>competitiveness and export capabilities</a:t>
            </a:r>
            <a:r>
              <a:rPr lang="en-US" sz="1400" kern="0" dirty="0">
                <a:solidFill>
                  <a:srgbClr val="000000"/>
                </a:solidFill>
                <a:latin typeface="Century Gothic" panose="020B0502020202020204" pitchFamily="34" charset="0"/>
              </a:rPr>
              <a:t>,  as well as the technological content of the national economy at the regional and international levels and </a:t>
            </a:r>
            <a:r>
              <a:rPr lang="en-US" sz="1400" b="1" kern="0" dirty="0">
                <a:solidFill>
                  <a:srgbClr val="000000"/>
                </a:solidFill>
                <a:latin typeface="Century Gothic" panose="020B0502020202020204" pitchFamily="34" charset="0"/>
              </a:rPr>
              <a:t>developing   priority sectors.</a:t>
            </a:r>
          </a:p>
          <a:p>
            <a:pPr marL="144000" indent="-457200" eaLnBrk="1" fontAlgn="auto" hangingPunct="1">
              <a:spcBef>
                <a:spcPts val="0"/>
              </a:spcBef>
              <a:spcAft>
                <a:spcPts val="600"/>
              </a:spcAft>
              <a:defRPr/>
            </a:pPr>
            <a:r>
              <a:rPr lang="en-US" sz="1400" kern="0" dirty="0">
                <a:solidFill>
                  <a:srgbClr val="000000"/>
                </a:solidFill>
                <a:latin typeface="Century Gothic" panose="020B0502020202020204" pitchFamily="34" charset="0"/>
              </a:rPr>
              <a:t>2. Creating </a:t>
            </a:r>
            <a:r>
              <a:rPr lang="en-US" sz="1400" b="1" kern="0" dirty="0">
                <a:solidFill>
                  <a:srgbClr val="000000"/>
                </a:solidFill>
                <a:latin typeface="Century Gothic" panose="020B0502020202020204" pitchFamily="34" charset="0"/>
              </a:rPr>
              <a:t>jobs </a:t>
            </a:r>
            <a:r>
              <a:rPr lang="en-US" sz="1400" kern="0" dirty="0">
                <a:solidFill>
                  <a:srgbClr val="000000"/>
                </a:solidFill>
                <a:latin typeface="Century Gothic" panose="020B0502020202020204" pitchFamily="34" charset="0"/>
              </a:rPr>
              <a:t>and enhancing the human resources </a:t>
            </a:r>
            <a:r>
              <a:rPr lang="en-US" sz="1400" b="1" kern="0" dirty="0">
                <a:solidFill>
                  <a:srgbClr val="000000"/>
                </a:solidFill>
                <a:latin typeface="Century Gothic" panose="020B0502020202020204" pitchFamily="34" charset="0"/>
              </a:rPr>
              <a:t>skills</a:t>
            </a:r>
            <a:r>
              <a:rPr lang="en-US" sz="1400" kern="0" dirty="0">
                <a:solidFill>
                  <a:srgbClr val="000000"/>
                </a:solidFill>
                <a:latin typeface="Century Gothic" panose="020B0502020202020204" pitchFamily="34" charset="0"/>
              </a:rPr>
              <a:t> </a:t>
            </a:r>
          </a:p>
          <a:p>
            <a:pPr marL="144000" indent="-457200" eaLnBrk="1" fontAlgn="auto" hangingPunct="1">
              <a:spcBef>
                <a:spcPts val="0"/>
              </a:spcBef>
              <a:spcAft>
                <a:spcPts val="600"/>
              </a:spcAft>
              <a:defRPr/>
            </a:pPr>
            <a:r>
              <a:rPr lang="en-US" sz="1400" kern="0" dirty="0">
                <a:solidFill>
                  <a:srgbClr val="000000"/>
                </a:solidFill>
                <a:latin typeface="Century Gothic" panose="020B0502020202020204" pitchFamily="34" charset="0"/>
              </a:rPr>
              <a:t>3. Achieving an integrated and balanced </a:t>
            </a:r>
            <a:r>
              <a:rPr lang="en-US" sz="1400" b="1" kern="0" dirty="0">
                <a:solidFill>
                  <a:srgbClr val="000000"/>
                </a:solidFill>
                <a:latin typeface="Century Gothic" panose="020B0502020202020204" pitchFamily="34" charset="0"/>
              </a:rPr>
              <a:t>regional development</a:t>
            </a:r>
          </a:p>
          <a:p>
            <a:pPr marL="144000" indent="-457200" eaLnBrk="1" fontAlgn="auto" hangingPunct="1">
              <a:spcBef>
                <a:spcPts val="0"/>
              </a:spcBef>
              <a:spcAft>
                <a:spcPts val="600"/>
              </a:spcAft>
              <a:defRPr/>
            </a:pPr>
            <a:r>
              <a:rPr lang="en-US" sz="1400" kern="0" dirty="0">
                <a:solidFill>
                  <a:srgbClr val="000000"/>
                </a:solidFill>
                <a:latin typeface="Century Gothic" panose="020B0502020202020204" pitchFamily="34" charset="0"/>
              </a:rPr>
              <a:t>4. Achieving </a:t>
            </a:r>
            <a:r>
              <a:rPr lang="en-US" sz="1400" b="1" kern="0" dirty="0">
                <a:solidFill>
                  <a:srgbClr val="000000"/>
                </a:solidFill>
                <a:latin typeface="Century Gothic" panose="020B0502020202020204" pitchFamily="34" charset="0"/>
              </a:rPr>
              <a:t>sustainable development</a:t>
            </a:r>
            <a:r>
              <a:rPr lang="en-US" sz="1400" kern="0" dirty="0">
                <a:solidFill>
                  <a:srgbClr val="000000"/>
                </a:solidFill>
                <a:latin typeface="Century Gothic" panose="020B0502020202020204" pitchFamily="34" charset="0"/>
              </a:rPr>
              <a:t>.</a:t>
            </a:r>
            <a:endParaRPr lang="en-GB" sz="1400" kern="0" dirty="0">
              <a:solidFill>
                <a:srgbClr val="000000"/>
              </a:solidFill>
              <a:latin typeface="Century Gothic" panose="020B0502020202020204" pitchFamily="34" charset="0"/>
            </a:endParaRPr>
          </a:p>
        </p:txBody>
      </p:sp>
      <p:sp>
        <p:nvSpPr>
          <p:cNvPr id="22" name="Text Placeholder 1"/>
          <p:cNvSpPr txBox="1">
            <a:spLocks/>
          </p:cNvSpPr>
          <p:nvPr/>
        </p:nvSpPr>
        <p:spPr>
          <a:xfrm>
            <a:off x="-58738" y="117475"/>
            <a:ext cx="9251951" cy="923925"/>
          </a:xfrm>
          <a:prstGeom prst="rect">
            <a:avLst/>
          </a:prstGeom>
        </p:spPr>
        <p:txBody>
          <a:bodyPr>
            <a:norm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buFont typeface="Arial" pitchFamily="34" charset="0"/>
              <a:buNone/>
              <a:defRPr/>
            </a:pPr>
            <a:r>
              <a:rPr lang="en-US" sz="1900" b="1" dirty="0" smtClean="0">
                <a:solidFill>
                  <a:schemeClr val="tx2"/>
                </a:solidFill>
                <a:latin typeface="Century Gothic" pitchFamily="34" charset="0"/>
                <a:cs typeface="Simplified Arabic" pitchFamily="18" charset="-78"/>
              </a:rPr>
              <a:t>2. INTRODUCTION </a:t>
            </a:r>
            <a:r>
              <a:rPr lang="en-US" sz="1900" b="1" dirty="0">
                <a:solidFill>
                  <a:schemeClr val="tx2"/>
                </a:solidFill>
                <a:latin typeface="Century Gothic" pitchFamily="34" charset="0"/>
                <a:cs typeface="Simplified Arabic" pitchFamily="18" charset="-78"/>
              </a:rPr>
              <a:t>OF THE INVESTMENT LAW</a:t>
            </a:r>
          </a:p>
          <a:p>
            <a:pPr eaLnBrk="1" hangingPunct="1">
              <a:buFont typeface="Arial" charset="0"/>
              <a:buNone/>
              <a:defRPr/>
            </a:pPr>
            <a:r>
              <a:rPr lang="en-US" sz="1400" dirty="0" smtClean="0">
                <a:solidFill>
                  <a:schemeClr val="tx2"/>
                </a:solidFill>
              </a:rPr>
              <a:t>      </a:t>
            </a:r>
            <a:r>
              <a:rPr lang="en-US" sz="2200" cap="small" dirty="0" smtClean="0">
                <a:solidFill>
                  <a:schemeClr val="tx2"/>
                </a:solidFill>
                <a:latin typeface="Century Gothic" charset="0"/>
                <a:ea typeface="Century Gothic" charset="0"/>
              </a:rPr>
              <a:t>Orientations of the New Law      </a:t>
            </a:r>
            <a:endParaRPr lang="en-US" sz="2200" cap="small" dirty="0">
              <a:solidFill>
                <a:schemeClr val="tx2"/>
              </a:solidFill>
              <a:latin typeface="Century Gothic" charset="0"/>
              <a:ea typeface="Century Gothic" charset="0"/>
            </a:endParaRPr>
          </a:p>
        </p:txBody>
      </p:sp>
      <p:sp>
        <p:nvSpPr>
          <p:cNvPr id="23" name="Pentagon 22"/>
          <p:cNvSpPr/>
          <p:nvPr/>
        </p:nvSpPr>
        <p:spPr>
          <a:xfrm rot="16200000" flipH="1">
            <a:off x="7343775" y="1209675"/>
            <a:ext cx="185738" cy="2897188"/>
          </a:xfrm>
          <a:prstGeom prst="homePlate">
            <a:avLst/>
          </a:prstGeom>
          <a:solidFill>
            <a:schemeClr val="tx2">
              <a:lumMod val="65000"/>
            </a:schemeClr>
          </a:solidFill>
          <a:ln w="25400" cap="flat" cmpd="sng" algn="ctr">
            <a:noFill/>
            <a:prstDash val="solid"/>
          </a:ln>
          <a:effectLst/>
        </p:spPr>
        <p:txBody>
          <a:bodyPr anchor="ctr"/>
          <a:lstStyle/>
          <a:p>
            <a:pPr algn="ctr" rtl="1" eaLnBrk="1" fontAlgn="auto" hangingPunct="1">
              <a:spcBef>
                <a:spcPts val="0"/>
              </a:spcBef>
              <a:spcAft>
                <a:spcPts val="0"/>
              </a:spcAft>
              <a:defRPr/>
            </a:pPr>
            <a:endParaRPr lang="en-US" kern="0">
              <a:solidFill>
                <a:srgbClr val="FFFFFF"/>
              </a:solidFill>
              <a:latin typeface="Simplified Arabic"/>
              <a:cs typeface="Simplified Arabic"/>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7698" name="Connecteur droit 25"/>
          <p:cNvCxnSpPr>
            <a:cxnSpLocks noChangeShapeType="1"/>
          </p:cNvCxnSpPr>
          <p:nvPr/>
        </p:nvCxnSpPr>
        <p:spPr bwMode="auto">
          <a:xfrm>
            <a:off x="2767013" y="3035300"/>
            <a:ext cx="0" cy="338138"/>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cxnSp>
        <p:nvCxnSpPr>
          <p:cNvPr id="157699" name="Connecteur droit 26"/>
          <p:cNvCxnSpPr>
            <a:cxnSpLocks noChangeShapeType="1"/>
          </p:cNvCxnSpPr>
          <p:nvPr/>
        </p:nvCxnSpPr>
        <p:spPr bwMode="auto">
          <a:xfrm>
            <a:off x="1514475" y="3033713"/>
            <a:ext cx="0" cy="323850"/>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cxnSp>
        <p:nvCxnSpPr>
          <p:cNvPr id="157700" name="Connecteur droit 27"/>
          <p:cNvCxnSpPr>
            <a:cxnSpLocks noChangeShapeType="1"/>
          </p:cNvCxnSpPr>
          <p:nvPr/>
        </p:nvCxnSpPr>
        <p:spPr bwMode="auto">
          <a:xfrm>
            <a:off x="5829300" y="3033713"/>
            <a:ext cx="0" cy="336550"/>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cxnSp>
        <p:nvCxnSpPr>
          <p:cNvPr id="157701" name="Connecteur droit 28"/>
          <p:cNvCxnSpPr>
            <a:cxnSpLocks noChangeShapeType="1"/>
          </p:cNvCxnSpPr>
          <p:nvPr/>
        </p:nvCxnSpPr>
        <p:spPr bwMode="auto">
          <a:xfrm>
            <a:off x="4414838" y="3033713"/>
            <a:ext cx="0" cy="338137"/>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cxnSp>
        <p:nvCxnSpPr>
          <p:cNvPr id="157702" name="Connecteur droit 29"/>
          <p:cNvCxnSpPr>
            <a:cxnSpLocks noChangeShapeType="1"/>
          </p:cNvCxnSpPr>
          <p:nvPr/>
        </p:nvCxnSpPr>
        <p:spPr bwMode="auto">
          <a:xfrm>
            <a:off x="7207250" y="3025775"/>
            <a:ext cx="0" cy="338138"/>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cxnSp>
        <p:nvCxnSpPr>
          <p:cNvPr id="157703" name="Connecteur droit 30"/>
          <p:cNvCxnSpPr>
            <a:cxnSpLocks noChangeShapeType="1"/>
          </p:cNvCxnSpPr>
          <p:nvPr/>
        </p:nvCxnSpPr>
        <p:spPr bwMode="auto">
          <a:xfrm>
            <a:off x="8496300" y="3038475"/>
            <a:ext cx="0" cy="338138"/>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cxnSp>
        <p:nvCxnSpPr>
          <p:cNvPr id="157704" name="Straight Connector 27"/>
          <p:cNvCxnSpPr>
            <a:cxnSpLocks noChangeShapeType="1"/>
            <a:stCxn id="33" idx="0"/>
          </p:cNvCxnSpPr>
          <p:nvPr/>
        </p:nvCxnSpPr>
        <p:spPr bwMode="auto">
          <a:xfrm>
            <a:off x="4414838" y="1539875"/>
            <a:ext cx="6350" cy="1477963"/>
          </a:xfrm>
          <a:prstGeom prst="line">
            <a:avLst/>
          </a:prstGeom>
          <a:noFill/>
          <a:ln w="9525" algn="ctr">
            <a:solidFill>
              <a:srgbClr val="000000"/>
            </a:solidFill>
            <a:round/>
            <a:headEnd/>
            <a:tailEnd/>
          </a:ln>
          <a:extLst>
            <a:ext uri="{909E8E84-426E-40DD-AFC4-6F175D3DCCD1}">
              <a14:hiddenFill xmlns:a14="http://schemas.microsoft.com/office/drawing/2010/main">
                <a:noFill/>
              </a14:hiddenFill>
            </a:ext>
          </a:extLst>
        </p:spPr>
      </p:cxnSp>
      <p:sp>
        <p:nvSpPr>
          <p:cNvPr id="33" name="Rectangle 32"/>
          <p:cNvSpPr/>
          <p:nvPr/>
        </p:nvSpPr>
        <p:spPr>
          <a:xfrm>
            <a:off x="3287713" y="1539875"/>
            <a:ext cx="2254250" cy="506413"/>
          </a:xfrm>
          <a:prstGeom prst="rect">
            <a:avLst/>
          </a:prstGeom>
          <a:solidFill>
            <a:srgbClr val="002060"/>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GB" b="1" kern="0" cap="small" dirty="0">
                <a:solidFill>
                  <a:srgbClr val="FFFFFF"/>
                </a:solidFill>
                <a:latin typeface="Century Gothic" charset="0"/>
                <a:ea typeface="Century Gothic" charset="0"/>
                <a:cs typeface="Simplified Arabic"/>
              </a:rPr>
              <a:t>Investment</a:t>
            </a:r>
            <a:r>
              <a:rPr lang="fr-FR" b="1" kern="0" cap="small" dirty="0">
                <a:solidFill>
                  <a:srgbClr val="FFFFFF"/>
                </a:solidFill>
                <a:latin typeface="Century Gothic" charset="0"/>
                <a:ea typeface="Century Gothic" charset="0"/>
                <a:cs typeface="Simplified Arabic"/>
              </a:rPr>
              <a:t> Law</a:t>
            </a:r>
            <a:endParaRPr lang="en-US" b="1" kern="0" cap="small" dirty="0">
              <a:solidFill>
                <a:srgbClr val="FFFFFF"/>
              </a:solidFill>
              <a:latin typeface="Century Gothic" charset="0"/>
              <a:ea typeface="Century Gothic" charset="0"/>
              <a:cs typeface="Simplified Arabic"/>
            </a:endParaRPr>
          </a:p>
        </p:txBody>
      </p:sp>
      <p:sp>
        <p:nvSpPr>
          <p:cNvPr id="34" name="Rectangle 33"/>
          <p:cNvSpPr/>
          <p:nvPr/>
        </p:nvSpPr>
        <p:spPr>
          <a:xfrm>
            <a:off x="2500313" y="3263900"/>
            <a:ext cx="1268412" cy="685800"/>
          </a:xfrm>
          <a:prstGeom prst="rect">
            <a:avLst/>
          </a:prstGeom>
          <a:solidFill>
            <a:srgbClr val="FFFFFF">
              <a:lumMod val="85000"/>
            </a:srgbClr>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US" sz="1400" b="1" kern="0" cap="small" dirty="0">
                <a:solidFill>
                  <a:srgbClr val="000000"/>
                </a:solidFill>
                <a:latin typeface="Century Gothic" charset="0"/>
                <a:ea typeface="Century Gothic" charset="0"/>
                <a:cs typeface="Century Gothic"/>
              </a:rPr>
              <a:t>Investor’s Guarantees &amp; Obligations</a:t>
            </a:r>
          </a:p>
        </p:txBody>
      </p:sp>
      <p:sp>
        <p:nvSpPr>
          <p:cNvPr id="35" name="Rectangle 34"/>
          <p:cNvSpPr/>
          <p:nvPr/>
        </p:nvSpPr>
        <p:spPr>
          <a:xfrm>
            <a:off x="1276350" y="3263900"/>
            <a:ext cx="1152525" cy="685800"/>
          </a:xfrm>
          <a:prstGeom prst="rect">
            <a:avLst/>
          </a:prstGeom>
          <a:solidFill>
            <a:srgbClr val="FFFFFF">
              <a:lumMod val="85000"/>
            </a:srgbClr>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Market Access</a:t>
            </a:r>
          </a:p>
        </p:txBody>
      </p:sp>
      <p:sp>
        <p:nvSpPr>
          <p:cNvPr id="36" name="Rectangle 35"/>
          <p:cNvSpPr/>
          <p:nvPr/>
        </p:nvSpPr>
        <p:spPr>
          <a:xfrm>
            <a:off x="5286375" y="3263900"/>
            <a:ext cx="1152525" cy="663575"/>
          </a:xfrm>
          <a:prstGeom prst="rect">
            <a:avLst/>
          </a:prstGeom>
          <a:solidFill>
            <a:srgbClr val="FFFFFF">
              <a:lumMod val="85000"/>
            </a:srgbClr>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Grants and Incentives</a:t>
            </a:r>
          </a:p>
        </p:txBody>
      </p:sp>
      <p:sp>
        <p:nvSpPr>
          <p:cNvPr id="37" name="Rectangle 36"/>
          <p:cNvSpPr/>
          <p:nvPr/>
        </p:nvSpPr>
        <p:spPr>
          <a:xfrm>
            <a:off x="3919538" y="3263900"/>
            <a:ext cx="1152525" cy="663575"/>
          </a:xfrm>
          <a:prstGeom prst="rect">
            <a:avLst/>
          </a:prstGeom>
          <a:solidFill>
            <a:srgbClr val="FFFFFF">
              <a:lumMod val="85000"/>
            </a:srgbClr>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Investment Governance</a:t>
            </a:r>
          </a:p>
        </p:txBody>
      </p:sp>
      <p:sp>
        <p:nvSpPr>
          <p:cNvPr id="38" name="Rectangle 37"/>
          <p:cNvSpPr/>
          <p:nvPr/>
        </p:nvSpPr>
        <p:spPr>
          <a:xfrm>
            <a:off x="6572250" y="3263900"/>
            <a:ext cx="1152525" cy="663575"/>
          </a:xfrm>
          <a:prstGeom prst="rect">
            <a:avLst/>
          </a:prstGeom>
          <a:solidFill>
            <a:srgbClr val="FFFFFF">
              <a:lumMod val="85000"/>
            </a:srgbClr>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Dispute Settlement</a:t>
            </a:r>
          </a:p>
        </p:txBody>
      </p:sp>
      <p:sp>
        <p:nvSpPr>
          <p:cNvPr id="39" name="Rectangle 38"/>
          <p:cNvSpPr/>
          <p:nvPr/>
        </p:nvSpPr>
        <p:spPr>
          <a:xfrm>
            <a:off x="107950" y="3263900"/>
            <a:ext cx="1044575" cy="685800"/>
          </a:xfrm>
          <a:prstGeom prst="rect">
            <a:avLst/>
          </a:prstGeom>
          <a:solidFill>
            <a:srgbClr val="FFFFFF">
              <a:lumMod val="85000"/>
            </a:srgbClr>
          </a:solidFill>
          <a:ln w="25400" cap="flat" cmpd="sng" algn="ctr">
            <a:noFill/>
            <a:prstDash val="solid"/>
          </a:ln>
          <a:effectLst/>
        </p:spPr>
        <p:txBody>
          <a:bodyPr lIns="0" rIns="0" anchor="ctr"/>
          <a:lstStyle/>
          <a:p>
            <a:pPr algn="ctr" eaLnBrk="1" fontAlgn="auto" hangingPunct="1">
              <a:spcBef>
                <a:spcPts val="0"/>
              </a:spcBef>
              <a:spcAft>
                <a:spcPts val="0"/>
              </a:spcAft>
              <a:defRPr/>
            </a:pPr>
            <a:r>
              <a:rPr lang="fr-FR" sz="1400" b="1" kern="0" cap="small" dirty="0">
                <a:solidFill>
                  <a:srgbClr val="000000"/>
                </a:solidFill>
                <a:latin typeface="Century Gothic" charset="0"/>
                <a:ea typeface="Century Gothic" charset="0"/>
                <a:cs typeface="Century Gothic"/>
              </a:rPr>
              <a:t>General provisions</a:t>
            </a:r>
            <a:endParaRPr lang="en-US" sz="1400" b="1" kern="0" cap="small" dirty="0">
              <a:solidFill>
                <a:srgbClr val="000000"/>
              </a:solidFill>
              <a:latin typeface="Century Gothic" charset="0"/>
              <a:ea typeface="Century Gothic" charset="0"/>
              <a:cs typeface="Century Gothic"/>
            </a:endParaRPr>
          </a:p>
        </p:txBody>
      </p:sp>
      <p:cxnSp>
        <p:nvCxnSpPr>
          <p:cNvPr id="157712" name="Connecteur droit 39"/>
          <p:cNvCxnSpPr>
            <a:cxnSpLocks noChangeShapeType="1"/>
          </p:cNvCxnSpPr>
          <p:nvPr/>
        </p:nvCxnSpPr>
        <p:spPr bwMode="auto">
          <a:xfrm>
            <a:off x="287338" y="2986088"/>
            <a:ext cx="8207375" cy="44450"/>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sp>
        <p:nvSpPr>
          <p:cNvPr id="41" name="Rectangle 40"/>
          <p:cNvSpPr/>
          <p:nvPr/>
        </p:nvSpPr>
        <p:spPr>
          <a:xfrm>
            <a:off x="3768725" y="4065588"/>
            <a:ext cx="1517650" cy="2328862"/>
          </a:xfrm>
          <a:prstGeom prst="rect">
            <a:avLst/>
          </a:prstGeom>
          <a:noFill/>
          <a:ln w="25400" cap="flat" cmpd="sng" algn="ctr">
            <a:solidFill>
              <a:srgbClr val="FF0000"/>
            </a:solidFill>
            <a:prstDash val="sysDash"/>
          </a:ln>
          <a:effectLst/>
        </p:spPr>
        <p:txBody>
          <a:bodyPr anchor="ctr"/>
          <a:lstStyle/>
          <a:p>
            <a:pPr algn="ctr" eaLnBrk="1" fontAlgn="auto" hangingPunct="1">
              <a:spcBef>
                <a:spcPts val="0"/>
              </a:spcBef>
              <a:spcAft>
                <a:spcPts val="0"/>
              </a:spcAft>
              <a:defRPr/>
            </a:pPr>
            <a:endParaRPr lang="en-GB" kern="0" dirty="0">
              <a:solidFill>
                <a:srgbClr val="FFFFFF"/>
              </a:solidFill>
              <a:latin typeface="Simplified Arabic"/>
              <a:cs typeface="Simplified Arabic"/>
            </a:endParaRPr>
          </a:p>
        </p:txBody>
      </p:sp>
      <p:sp>
        <p:nvSpPr>
          <p:cNvPr id="42" name="Rectangle 41"/>
          <p:cNvSpPr/>
          <p:nvPr/>
        </p:nvSpPr>
        <p:spPr>
          <a:xfrm>
            <a:off x="3840163" y="5665788"/>
            <a:ext cx="1328737" cy="676275"/>
          </a:xfrm>
          <a:prstGeom prst="rect">
            <a:avLst/>
          </a:prstGeom>
          <a:solidFill>
            <a:schemeClr val="accent4">
              <a:lumMod val="20000"/>
              <a:lumOff val="80000"/>
            </a:schemeClr>
          </a:solidFill>
          <a:ln w="25400" cap="flat" cmpd="sng" algn="ctr">
            <a:noFill/>
            <a:prstDash val="solid"/>
          </a:ln>
          <a:effectLst/>
        </p:spPr>
        <p:txBody>
          <a:bodyPr lIns="0" rIns="0" anchor="ctr"/>
          <a:lstStyle/>
          <a:p>
            <a:pPr algn="ctr" rtl="1"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The Tunisian Investment Fund</a:t>
            </a:r>
          </a:p>
        </p:txBody>
      </p:sp>
      <p:sp>
        <p:nvSpPr>
          <p:cNvPr id="43" name="Rectangle 42"/>
          <p:cNvSpPr/>
          <p:nvPr/>
        </p:nvSpPr>
        <p:spPr>
          <a:xfrm>
            <a:off x="3840163" y="4165600"/>
            <a:ext cx="1328737" cy="622300"/>
          </a:xfrm>
          <a:prstGeom prst="rect">
            <a:avLst/>
          </a:prstGeom>
          <a:solidFill>
            <a:schemeClr val="accent4">
              <a:lumMod val="20000"/>
              <a:lumOff val="80000"/>
            </a:schemeClr>
          </a:solidFill>
          <a:ln w="25400" cap="flat" cmpd="sng" algn="ctr">
            <a:noFill/>
            <a:prstDash val="solid"/>
          </a:ln>
          <a:effectLst/>
        </p:spPr>
        <p:txBody>
          <a:bodyPr lIns="0" rIns="0" anchor="ctr"/>
          <a:lstStyle/>
          <a:p>
            <a:pPr algn="ctr" rtl="1"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The High Investment Council </a:t>
            </a:r>
          </a:p>
        </p:txBody>
      </p:sp>
      <p:sp>
        <p:nvSpPr>
          <p:cNvPr id="44" name="Rectangle 43"/>
          <p:cNvSpPr/>
          <p:nvPr/>
        </p:nvSpPr>
        <p:spPr>
          <a:xfrm>
            <a:off x="3840163" y="4908550"/>
            <a:ext cx="1328737" cy="642938"/>
          </a:xfrm>
          <a:prstGeom prst="rect">
            <a:avLst/>
          </a:prstGeom>
          <a:solidFill>
            <a:schemeClr val="accent4">
              <a:lumMod val="20000"/>
              <a:lumOff val="80000"/>
            </a:schemeClr>
          </a:solidFill>
          <a:ln w="25400" cap="flat" cmpd="sng" algn="ctr">
            <a:noFill/>
            <a:prstDash val="solid"/>
          </a:ln>
          <a:effectLst/>
        </p:spPr>
        <p:txBody>
          <a:bodyPr lIns="0" rIns="0" anchor="ctr"/>
          <a:lstStyle/>
          <a:p>
            <a:pPr algn="ctr" rtl="1"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The Tunisian Investment Authority</a:t>
            </a:r>
          </a:p>
        </p:txBody>
      </p:sp>
      <p:cxnSp>
        <p:nvCxnSpPr>
          <p:cNvPr id="157717" name="Connecteur droit 44"/>
          <p:cNvCxnSpPr>
            <a:cxnSpLocks noChangeShapeType="1"/>
          </p:cNvCxnSpPr>
          <p:nvPr/>
        </p:nvCxnSpPr>
        <p:spPr bwMode="auto">
          <a:xfrm>
            <a:off x="287338" y="2986088"/>
            <a:ext cx="0" cy="323850"/>
          </a:xfrm>
          <a:prstGeom prst="line">
            <a:avLst/>
          </a:prstGeom>
          <a:noFill/>
          <a:ln w="9525" algn="ctr">
            <a:solidFill>
              <a:srgbClr val="A5A7AB"/>
            </a:solidFill>
            <a:round/>
            <a:headEnd/>
            <a:tailEnd/>
          </a:ln>
          <a:extLst>
            <a:ext uri="{909E8E84-426E-40DD-AFC4-6F175D3DCCD1}">
              <a14:hiddenFill xmlns:a14="http://schemas.microsoft.com/office/drawing/2010/main">
                <a:noFill/>
              </a14:hiddenFill>
            </a:ext>
          </a:extLst>
        </p:spPr>
      </p:cxnSp>
      <p:sp>
        <p:nvSpPr>
          <p:cNvPr id="46" name="Rectangle 45"/>
          <p:cNvSpPr/>
          <p:nvPr/>
        </p:nvSpPr>
        <p:spPr>
          <a:xfrm>
            <a:off x="7858125" y="3263900"/>
            <a:ext cx="1152525" cy="663575"/>
          </a:xfrm>
          <a:prstGeom prst="rect">
            <a:avLst/>
          </a:prstGeom>
          <a:solidFill>
            <a:srgbClr val="FFFFFF">
              <a:lumMod val="85000"/>
            </a:srgbClr>
          </a:solidFill>
          <a:ln w="25400" cap="flat" cmpd="sng" algn="ctr">
            <a:noFill/>
            <a:prstDash val="solid"/>
          </a:ln>
          <a:effectLst/>
        </p:spPr>
        <p:txBody>
          <a:bodyPr lIns="0" rIns="0" anchor="ctr"/>
          <a:lstStyle/>
          <a:p>
            <a:pPr algn="ctr" eaLnBrk="1" fontAlgn="auto" hangingPunct="1">
              <a:spcBef>
                <a:spcPts val="0"/>
              </a:spcBef>
              <a:spcAft>
                <a:spcPts val="0"/>
              </a:spcAft>
              <a:defRPr/>
            </a:pPr>
            <a:r>
              <a:rPr lang="en-GB" sz="1400" b="1" kern="0" cap="small" dirty="0">
                <a:solidFill>
                  <a:srgbClr val="000000"/>
                </a:solidFill>
                <a:latin typeface="Century Gothic" charset="0"/>
                <a:ea typeface="Century Gothic" charset="0"/>
                <a:cs typeface="Century Gothic"/>
              </a:rPr>
              <a:t>Transitional and final provisions</a:t>
            </a:r>
          </a:p>
        </p:txBody>
      </p:sp>
      <p:sp>
        <p:nvSpPr>
          <p:cNvPr id="47" name="Rectangle 46"/>
          <p:cNvSpPr/>
          <p:nvPr/>
        </p:nvSpPr>
        <p:spPr>
          <a:xfrm>
            <a:off x="234950" y="1562100"/>
            <a:ext cx="2265363" cy="506413"/>
          </a:xfrm>
          <a:prstGeom prst="rect">
            <a:avLst/>
          </a:prstGeom>
          <a:solidFill>
            <a:schemeClr val="bg2">
              <a:lumMod val="20000"/>
              <a:lumOff val="80000"/>
            </a:schemeClr>
          </a:solidFill>
          <a:ln w="25400" cap="flat" cmpd="sng" algn="ctr">
            <a:noFill/>
            <a:prstDash val="solid"/>
          </a:ln>
          <a:effectLst/>
        </p:spPr>
        <p:txBody>
          <a:bodyPr lIns="0" rIns="0" anchor="ctr"/>
          <a:lstStyle/>
          <a:p>
            <a:pPr algn="ctr" rtl="1" eaLnBrk="1" fontAlgn="auto" hangingPunct="1">
              <a:spcBef>
                <a:spcPts val="0"/>
              </a:spcBef>
              <a:spcAft>
                <a:spcPts val="0"/>
              </a:spcAft>
              <a:defRPr/>
            </a:pPr>
            <a:r>
              <a:rPr lang="en-US" sz="1600" b="1" kern="0" cap="small" dirty="0">
                <a:solidFill>
                  <a:srgbClr val="002060"/>
                </a:solidFill>
                <a:latin typeface="Century Gothic" charset="0"/>
                <a:ea typeface="Century Gothic" charset="0"/>
                <a:cs typeface="Century Gothic"/>
              </a:rPr>
              <a:t>Entry into force : </a:t>
            </a:r>
          </a:p>
          <a:p>
            <a:pPr algn="ctr" rtl="1" eaLnBrk="1" fontAlgn="auto" hangingPunct="1">
              <a:spcBef>
                <a:spcPts val="0"/>
              </a:spcBef>
              <a:spcAft>
                <a:spcPts val="0"/>
              </a:spcAft>
              <a:defRPr/>
            </a:pPr>
            <a:r>
              <a:rPr lang="en-US" sz="1600" b="1" kern="0" cap="small" dirty="0">
                <a:solidFill>
                  <a:schemeClr val="tx1">
                    <a:lumMod val="60000"/>
                    <a:lumOff val="40000"/>
                  </a:schemeClr>
                </a:solidFill>
                <a:latin typeface="Century Gothic" charset="0"/>
                <a:ea typeface="Century Gothic" charset="0"/>
                <a:cs typeface="Century Gothic"/>
              </a:rPr>
              <a:t>April 1</a:t>
            </a:r>
            <a:r>
              <a:rPr lang="en-US" sz="1600" b="1" kern="0" cap="small" baseline="30000" dirty="0">
                <a:solidFill>
                  <a:schemeClr val="tx1">
                    <a:lumMod val="60000"/>
                    <a:lumOff val="40000"/>
                  </a:schemeClr>
                </a:solidFill>
                <a:latin typeface="Century Gothic" charset="0"/>
                <a:ea typeface="Century Gothic" charset="0"/>
                <a:cs typeface="Century Gothic"/>
              </a:rPr>
              <a:t>st</a:t>
            </a:r>
            <a:r>
              <a:rPr lang="en-US" sz="1600" b="1" kern="0" cap="small" dirty="0">
                <a:solidFill>
                  <a:schemeClr val="tx1">
                    <a:lumMod val="60000"/>
                    <a:lumOff val="40000"/>
                  </a:schemeClr>
                </a:solidFill>
                <a:latin typeface="Century Gothic" charset="0"/>
                <a:ea typeface="Century Gothic" charset="0"/>
                <a:cs typeface="Century Gothic"/>
              </a:rPr>
              <a:t>, 2017</a:t>
            </a:r>
          </a:p>
        </p:txBody>
      </p:sp>
      <p:sp>
        <p:nvSpPr>
          <p:cNvPr id="48" name="Rectangle 47"/>
          <p:cNvSpPr/>
          <p:nvPr/>
        </p:nvSpPr>
        <p:spPr>
          <a:xfrm>
            <a:off x="3595688" y="2346325"/>
            <a:ext cx="1800225" cy="354013"/>
          </a:xfrm>
          <a:prstGeom prst="rect">
            <a:avLst/>
          </a:prstGeom>
          <a:solidFill>
            <a:srgbClr val="FFFFFF"/>
          </a:solidFill>
          <a:ln w="25400" cap="flat" cmpd="sng" algn="ctr">
            <a:solidFill>
              <a:srgbClr val="000000"/>
            </a:solidFill>
            <a:prstDash val="solid"/>
          </a:ln>
          <a:effectLst/>
        </p:spPr>
        <p:txBody>
          <a:bodyPr lIns="0" rIns="0" anchor="ctr"/>
          <a:lstStyle/>
          <a:p>
            <a:pPr algn="ctr" eaLnBrk="1" fontAlgn="auto" hangingPunct="1">
              <a:spcBef>
                <a:spcPts val="0"/>
              </a:spcBef>
              <a:spcAft>
                <a:spcPts val="0"/>
              </a:spcAft>
              <a:defRPr/>
            </a:pPr>
            <a:r>
              <a:rPr lang="fr-FR" sz="1400" b="1" kern="0" dirty="0">
                <a:solidFill>
                  <a:srgbClr val="002060"/>
                </a:solidFill>
                <a:latin typeface="Simplified Arabic"/>
                <a:cs typeface="Simplified Arabic"/>
              </a:rPr>
              <a:t> 36 </a:t>
            </a:r>
            <a:r>
              <a:rPr lang="fr-FR" sz="1400" b="1" kern="0" dirty="0">
                <a:solidFill>
                  <a:srgbClr val="002060"/>
                </a:solidFill>
                <a:latin typeface="Century Gothic" pitchFamily="34" charset="0"/>
                <a:cs typeface="Simplified Arabic"/>
              </a:rPr>
              <a:t>ARTICLES</a:t>
            </a:r>
            <a:endParaRPr lang="en-US" sz="1400" b="1" kern="0" dirty="0">
              <a:solidFill>
                <a:srgbClr val="002060"/>
              </a:solidFill>
              <a:latin typeface="Century Gothic" pitchFamily="34" charset="0"/>
              <a:cs typeface="Simplified Arabic"/>
            </a:endParaRPr>
          </a:p>
        </p:txBody>
      </p:sp>
      <p:sp>
        <p:nvSpPr>
          <p:cNvPr id="49" name="Text Placeholder 1"/>
          <p:cNvSpPr txBox="1">
            <a:spLocks/>
          </p:cNvSpPr>
          <p:nvPr/>
        </p:nvSpPr>
        <p:spPr>
          <a:xfrm>
            <a:off x="98425" y="188913"/>
            <a:ext cx="8791575" cy="711200"/>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hangingPunct="1">
              <a:buFont typeface="Arial" pitchFamily="34" charset="0"/>
              <a:buNone/>
              <a:defRPr/>
            </a:pPr>
            <a:r>
              <a:rPr lang="en-US" sz="2000" b="1" dirty="0" smtClean="0">
                <a:solidFill>
                  <a:schemeClr val="tx2"/>
                </a:solidFill>
                <a:latin typeface="Century Gothic" pitchFamily="34" charset="0"/>
                <a:cs typeface="Simplified Arabic" pitchFamily="18" charset="-78"/>
              </a:rPr>
              <a:t>2. </a:t>
            </a:r>
            <a:r>
              <a:rPr lang="en-US" sz="1800" b="1" dirty="0" smtClean="0">
                <a:solidFill>
                  <a:schemeClr val="tx2"/>
                </a:solidFill>
                <a:latin typeface="Century Gothic" pitchFamily="34" charset="0"/>
                <a:cs typeface="Simplified Arabic" pitchFamily="18" charset="-78"/>
              </a:rPr>
              <a:t>INTRODUCTION OF THE INVESTMENT LAW</a:t>
            </a:r>
          </a:p>
          <a:p>
            <a:pPr marL="0" indent="0" eaLnBrk="1" hangingPunct="1">
              <a:buFont typeface="Arial" pitchFamily="34" charset="0"/>
              <a:buNone/>
              <a:defRPr/>
            </a:pPr>
            <a:r>
              <a:rPr lang="en-US" sz="1600" b="1" dirty="0">
                <a:solidFill>
                  <a:schemeClr val="tx2"/>
                </a:solidFill>
                <a:latin typeface="Century Gothic" pitchFamily="34" charset="0"/>
                <a:cs typeface="Simplified Arabic" pitchFamily="18" charset="-78"/>
              </a:rPr>
              <a:t> </a:t>
            </a:r>
            <a:r>
              <a:rPr lang="en-US" sz="1600" b="1" dirty="0" smtClean="0">
                <a:solidFill>
                  <a:schemeClr val="tx2"/>
                </a:solidFill>
                <a:latin typeface="Century Gothic" pitchFamily="34" charset="0"/>
                <a:cs typeface="Simplified Arabic" pitchFamily="18" charset="-78"/>
              </a:rPr>
              <a:t>    </a:t>
            </a:r>
            <a:r>
              <a:rPr lang="en-US" sz="1600" dirty="0" smtClean="0">
                <a:solidFill>
                  <a:schemeClr val="tx2"/>
                </a:solidFill>
                <a:latin typeface="Century Gothic" pitchFamily="34" charset="0"/>
                <a:cs typeface="Simplified Arabic" pitchFamily="18" charset="-78"/>
              </a:rPr>
              <a:t>INVESTMENT LAW  STRUCTURE</a:t>
            </a:r>
          </a:p>
          <a:p>
            <a:pPr eaLnBrk="1" hangingPunct="1">
              <a:defRPr/>
            </a:pPr>
            <a:endParaRPr lang="en-US" sz="2000" b="1" dirty="0">
              <a:solidFill>
                <a:schemeClr val="tx2"/>
              </a:solidFill>
              <a:latin typeface="Century Gothic" pitchFamily="34" charset="0"/>
              <a:cs typeface="Simplified Arabic" pitchFamily="18" charset="-78"/>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6"/>
          <p:cNvGraphicFramePr>
            <a:graphicFrameLocks noGrp="1"/>
          </p:cNvGraphicFramePr>
          <p:nvPr/>
        </p:nvGraphicFramePr>
        <p:xfrm>
          <a:off x="3168650" y="1503363"/>
          <a:ext cx="3095625" cy="5035550"/>
        </p:xfrm>
        <a:graphic>
          <a:graphicData uri="http://schemas.openxmlformats.org/drawingml/2006/table">
            <a:tbl>
              <a:tblPr firstRow="1" bandRow="1"/>
              <a:tblGrid>
                <a:gridCol w="3095625"/>
              </a:tblGrid>
              <a:tr h="823196">
                <a:tc>
                  <a:txBody>
                    <a:bodyPr/>
                    <a:lstStyle>
                      <a:lvl1pPr marL="0" algn="l" defTabSz="914400" rtl="0" eaLnBrk="1" latinLnBrk="0" hangingPunct="1">
                        <a:defRPr sz="1800" b="1" kern="1200">
                          <a:solidFill>
                            <a:schemeClr val="bg1"/>
                          </a:solidFill>
                          <a:latin typeface="Simplified Arabic"/>
                          <a:cs typeface="Simplified Arabic"/>
                        </a:defRPr>
                      </a:lvl1pPr>
                      <a:lvl2pPr marL="457200" algn="l" defTabSz="914400" rtl="0" eaLnBrk="1" latinLnBrk="0" hangingPunct="1">
                        <a:defRPr sz="1800" b="1" kern="1200">
                          <a:solidFill>
                            <a:schemeClr val="bg1"/>
                          </a:solidFill>
                          <a:latin typeface="Simplified Arabic"/>
                          <a:cs typeface="Simplified Arabic"/>
                        </a:defRPr>
                      </a:lvl2pPr>
                      <a:lvl3pPr marL="914400" algn="l" defTabSz="914400" rtl="0" eaLnBrk="1" latinLnBrk="0" hangingPunct="1">
                        <a:defRPr sz="1800" b="1" kern="1200">
                          <a:solidFill>
                            <a:schemeClr val="bg1"/>
                          </a:solidFill>
                          <a:latin typeface="Simplified Arabic"/>
                          <a:cs typeface="Simplified Arabic"/>
                        </a:defRPr>
                      </a:lvl3pPr>
                      <a:lvl4pPr marL="1371600" algn="l" defTabSz="914400" rtl="0" eaLnBrk="1" latinLnBrk="0" hangingPunct="1">
                        <a:defRPr sz="1800" b="1" kern="1200">
                          <a:solidFill>
                            <a:schemeClr val="bg1"/>
                          </a:solidFill>
                          <a:latin typeface="Simplified Arabic"/>
                          <a:cs typeface="Simplified Arabic"/>
                        </a:defRPr>
                      </a:lvl4pPr>
                      <a:lvl5pPr marL="1828800" algn="l" defTabSz="914400" rtl="0" eaLnBrk="1" latinLnBrk="0" hangingPunct="1">
                        <a:defRPr sz="1800" b="1" kern="1200">
                          <a:solidFill>
                            <a:schemeClr val="bg1"/>
                          </a:solidFill>
                          <a:latin typeface="Simplified Arabic"/>
                          <a:cs typeface="Simplified Arabic"/>
                        </a:defRPr>
                      </a:lvl5pPr>
                      <a:lvl6pPr marL="2286000" algn="l" defTabSz="914400" rtl="0" eaLnBrk="1" latinLnBrk="0" hangingPunct="1">
                        <a:defRPr sz="1800" b="1" kern="1200">
                          <a:solidFill>
                            <a:schemeClr val="bg1"/>
                          </a:solidFill>
                          <a:latin typeface="Simplified Arabic"/>
                          <a:cs typeface="Simplified Arabic"/>
                        </a:defRPr>
                      </a:lvl6pPr>
                      <a:lvl7pPr marL="2743200" algn="l" defTabSz="914400" rtl="0" eaLnBrk="1" latinLnBrk="0" hangingPunct="1">
                        <a:defRPr sz="1800" b="1" kern="1200">
                          <a:solidFill>
                            <a:schemeClr val="bg1"/>
                          </a:solidFill>
                          <a:latin typeface="Simplified Arabic"/>
                          <a:cs typeface="Simplified Arabic"/>
                        </a:defRPr>
                      </a:lvl7pPr>
                      <a:lvl8pPr marL="3200400" algn="l" defTabSz="914400" rtl="0" eaLnBrk="1" latinLnBrk="0" hangingPunct="1">
                        <a:defRPr sz="1800" b="1" kern="1200">
                          <a:solidFill>
                            <a:schemeClr val="bg1"/>
                          </a:solidFill>
                          <a:latin typeface="Simplified Arabic"/>
                          <a:cs typeface="Simplified Arabic"/>
                        </a:defRPr>
                      </a:lvl8pPr>
                      <a:lvl9pPr marL="3657600" algn="l" defTabSz="914400" rtl="0" eaLnBrk="1" latinLnBrk="0" hangingPunct="1">
                        <a:defRPr sz="1800" b="1" kern="1200">
                          <a:solidFill>
                            <a:schemeClr val="bg1"/>
                          </a:solidFill>
                          <a:latin typeface="Simplified Arabic"/>
                          <a:cs typeface="Simplified Arabic"/>
                        </a:defRPr>
                      </a:lvl9pPr>
                    </a:lstStyle>
                    <a:p>
                      <a:pPr marL="352234" marR="0" indent="-400050" algn="ctr" defTabSz="914400" rtl="0" eaLnBrk="1" fontAlgn="auto" latinLnBrk="0" hangingPunct="1">
                        <a:lnSpc>
                          <a:spcPct val="100000"/>
                        </a:lnSpc>
                        <a:spcBef>
                          <a:spcPts val="0"/>
                        </a:spcBef>
                        <a:spcAft>
                          <a:spcPts val="0"/>
                        </a:spcAft>
                        <a:buClrTx/>
                        <a:buSzTx/>
                        <a:buFont typeface="+mj-lt"/>
                        <a:buNone/>
                        <a:tabLst/>
                        <a:defRPr/>
                      </a:pPr>
                      <a:r>
                        <a:rPr lang="en-US" sz="1600" b="1" kern="1200" cap="small" dirty="0" smtClean="0">
                          <a:solidFill>
                            <a:schemeClr val="tx2"/>
                          </a:solidFill>
                          <a:latin typeface="Century Gothic" charset="0"/>
                          <a:ea typeface="Century Gothic" charset="0"/>
                          <a:cs typeface="+mn-cs"/>
                          <a:sym typeface="Wingdings"/>
                        </a:rPr>
                        <a:t>II. Investment promotion mechanisms </a:t>
                      </a:r>
                    </a:p>
                    <a:p>
                      <a:pPr marL="352234" marR="0" indent="-400050" algn="ctr" defTabSz="914400" rtl="0" eaLnBrk="1" fontAlgn="auto" latinLnBrk="0" hangingPunct="1">
                        <a:lnSpc>
                          <a:spcPct val="100000"/>
                        </a:lnSpc>
                        <a:spcBef>
                          <a:spcPts val="0"/>
                        </a:spcBef>
                        <a:spcAft>
                          <a:spcPts val="0"/>
                        </a:spcAft>
                        <a:buClrTx/>
                        <a:buSzTx/>
                        <a:buFont typeface="+mj-lt"/>
                        <a:buNone/>
                        <a:tabLst/>
                        <a:defRPr/>
                      </a:pPr>
                      <a:r>
                        <a:rPr lang="en-US" sz="1600" b="1" kern="1200" cap="small" dirty="0" smtClean="0">
                          <a:solidFill>
                            <a:schemeClr val="tx2"/>
                          </a:solidFill>
                          <a:latin typeface="Century Gothic" charset="0"/>
                          <a:ea typeface="Century Gothic" charset="0"/>
                          <a:cs typeface="+mn-cs"/>
                          <a:sym typeface="Wingdings"/>
                        </a:rPr>
                        <a:t>and</a:t>
                      </a:r>
                      <a:r>
                        <a:rPr lang="en-US" sz="1200" b="1" kern="0" dirty="0" smtClean="0">
                          <a:solidFill>
                            <a:schemeClr val="tx2"/>
                          </a:solidFill>
                          <a:latin typeface="Century Gothic" panose="020B0502020202020204" pitchFamily="34" charset="0"/>
                          <a:cs typeface="Arial" pitchFamily="34" charset="0"/>
                          <a:sym typeface="Wingdings"/>
                        </a:rPr>
                        <a:t> </a:t>
                      </a:r>
                      <a:r>
                        <a:rPr lang="en-US" sz="1600" b="1" kern="1200" cap="small" dirty="0" smtClean="0">
                          <a:solidFill>
                            <a:schemeClr val="tx2"/>
                          </a:solidFill>
                          <a:latin typeface="Century Gothic" charset="0"/>
                          <a:ea typeface="Century Gothic" charset="0"/>
                          <a:cs typeface="+mn-cs"/>
                          <a:sym typeface="Wingdings"/>
                        </a:rPr>
                        <a:t>structures</a:t>
                      </a:r>
                      <a:endParaRPr lang="ar-JO" sz="1600" b="1" kern="1200" cap="small" dirty="0" smtClean="0">
                        <a:solidFill>
                          <a:schemeClr val="tx2"/>
                        </a:solidFill>
                        <a:latin typeface="Century Gothic" charset="0"/>
                        <a:ea typeface="Century Gothic" charset="0"/>
                        <a:cs typeface="+mn-cs"/>
                        <a:sym typeface="Wingdings"/>
                      </a:endParaRPr>
                    </a:p>
                  </a:txBody>
                  <a:tcPr marL="84386" marR="84386" marT="45725" marB="45725"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r>
              <a:tr h="737015">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66700" marR="0" indent="-266700" algn="l" defTabSz="914400" rtl="0" eaLnBrk="1" fontAlgn="auto" latinLnBrk="0" hangingPunct="1">
                        <a:lnSpc>
                          <a:spcPts val="1300"/>
                        </a:lnSpc>
                        <a:spcBef>
                          <a:spcPts val="0"/>
                        </a:spcBef>
                        <a:spcAft>
                          <a:spcPts val="0"/>
                        </a:spcAft>
                        <a:buClrTx/>
                        <a:buSzTx/>
                        <a:buFont typeface="+mj-lt"/>
                        <a:buAutoNum type="arabicPeriod" startAt="6"/>
                        <a:tabLst/>
                        <a:defRPr/>
                      </a:pPr>
                      <a:r>
                        <a:rPr lang="en-US" sz="1100" b="1" u="none" strike="noStrike" kern="1200" dirty="0" smtClean="0">
                          <a:solidFill>
                            <a:srgbClr val="000000"/>
                          </a:solidFill>
                          <a:latin typeface="Century Gothic" panose="020B0502020202020204" pitchFamily="34" charset="0"/>
                          <a:cs typeface="Arial" pitchFamily="34" charset="0"/>
                        </a:rPr>
                        <a:t>Creating a Tunisian Investment Authority: </a:t>
                      </a:r>
                      <a:r>
                        <a:rPr lang="en-US" sz="1100" b="0" u="none" strike="noStrike" kern="1200" dirty="0" smtClean="0">
                          <a:solidFill>
                            <a:srgbClr val="000000"/>
                          </a:solidFill>
                          <a:latin typeface="Century Gothic" panose="020B0502020202020204" pitchFamily="34" charset="0"/>
                          <a:cs typeface="Arial" pitchFamily="34" charset="0"/>
                        </a:rPr>
                        <a:t>a single contact for the investor and facilitating his procedures </a:t>
                      </a:r>
                      <a:endParaRPr lang="fr-FR" sz="1100" b="0" dirty="0" smtClean="0">
                        <a:solidFill>
                          <a:srgbClr val="000000"/>
                        </a:solidFill>
                        <a:latin typeface="Century Gothic" panose="020B0502020202020204" pitchFamily="34" charset="0"/>
                        <a:cs typeface="Arial" pitchFamily="34" charset="0"/>
                        <a:sym typeface="Wingdings" pitchFamily="2" charset="2"/>
                      </a:endParaRPr>
                    </a:p>
                  </a:txBody>
                  <a:tcPr marL="45709" marR="45709" marT="45725" marB="45725"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929909">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Pts val="1100"/>
                        <a:buFont typeface="+mj-lt"/>
                        <a:buAutoNum type="arabicPeriod" startAt="7"/>
                        <a:tabLst/>
                        <a:defRPr/>
                      </a:pPr>
                      <a:r>
                        <a:rPr lang="en-US" sz="1100" b="1" dirty="0" smtClean="0">
                          <a:solidFill>
                            <a:srgbClr val="000000"/>
                          </a:solidFill>
                          <a:latin typeface="Century Gothic" panose="020B0502020202020204" pitchFamily="34" charset="0"/>
                          <a:ea typeface="+mn-ea"/>
                          <a:cs typeface="Arial" pitchFamily="34" charset="0"/>
                          <a:sym typeface="Wingdings" pitchFamily="2" charset="2"/>
                        </a:rPr>
                        <a:t>The establishment of the Tunisian Investment Fund : </a:t>
                      </a:r>
                      <a:r>
                        <a:rPr lang="en-US" sz="1100" b="0" dirty="0" smtClean="0">
                          <a:solidFill>
                            <a:srgbClr val="000000"/>
                          </a:solidFill>
                          <a:latin typeface="Century Gothic" panose="020B0502020202020204" pitchFamily="34" charset="0"/>
                          <a:ea typeface="+mn-ea"/>
                          <a:cs typeface="Arial" pitchFamily="34" charset="0"/>
                          <a:sym typeface="Wingdings" pitchFamily="2" charset="2"/>
                        </a:rPr>
                        <a:t>allocating grants and contributions and combining mechanisms of state intervention to promote investment</a:t>
                      </a:r>
                      <a:endParaRPr lang="fr-FR" sz="1100" b="0" kern="1200" dirty="0" smtClean="0">
                        <a:solidFill>
                          <a:srgbClr val="000000"/>
                        </a:solidFill>
                        <a:latin typeface="Century Gothic" panose="020B0502020202020204" pitchFamily="34" charset="0"/>
                        <a:ea typeface="+mn-ea"/>
                        <a:cs typeface="Arial" pitchFamily="34" charset="0"/>
                        <a:sym typeface="Wingdings" pitchFamily="2" charset="2"/>
                      </a:endParaRPr>
                    </a:p>
                  </a:txBody>
                  <a:tcPr marL="45709" marR="45709" marT="45725" marB="45725"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746976">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Pts val="1100"/>
                        <a:buFont typeface="+mj-lt"/>
                        <a:buAutoNum type="arabicPeriod" startAt="8"/>
                        <a:tabLst/>
                        <a:defRPr/>
                      </a:pPr>
                      <a:r>
                        <a:rPr lang="en-US" sz="1100" b="1" dirty="0" smtClean="0">
                          <a:solidFill>
                            <a:srgbClr val="000000"/>
                          </a:solidFill>
                          <a:latin typeface="Century Gothic" panose="020B0502020202020204" pitchFamily="34" charset="0"/>
                          <a:cs typeface="Arial" pitchFamily="34" charset="0"/>
                        </a:rPr>
                        <a:t>Creation of the High Investment Council : </a:t>
                      </a:r>
                      <a:r>
                        <a:rPr lang="en-US" sz="1100" b="0" dirty="0" smtClean="0">
                          <a:solidFill>
                            <a:srgbClr val="000000"/>
                          </a:solidFill>
                          <a:latin typeface="Century Gothic" panose="020B0502020202020204" pitchFamily="34" charset="0"/>
                          <a:cs typeface="Arial" pitchFamily="34" charset="0"/>
                        </a:rPr>
                        <a:t>regulate the state's policy, strategy and programs in the field of investment</a:t>
                      </a:r>
                      <a:endParaRPr lang="fr-FR" sz="1100" b="0" dirty="0" smtClean="0">
                        <a:solidFill>
                          <a:srgbClr val="000000"/>
                        </a:solidFill>
                        <a:latin typeface="Century Gothic" panose="020B0502020202020204" pitchFamily="34" charset="0"/>
                        <a:ea typeface="+mn-ea"/>
                        <a:cs typeface="Arial" pitchFamily="34" charset="0"/>
                        <a:sym typeface="Wingdings" pitchFamily="2" charset="2"/>
                      </a:endParaRPr>
                    </a:p>
                  </a:txBody>
                  <a:tcPr marL="45709" marR="45709" marT="45725" marB="45725"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1097601">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Pts val="1100"/>
                        <a:buFont typeface="+mj-lt"/>
                        <a:buAutoNum type="arabicPeriod" startAt="9"/>
                        <a:tabLst/>
                        <a:defRPr/>
                      </a:pPr>
                      <a:r>
                        <a:rPr lang="en-US" sz="1100" b="1" u="none" strike="noStrike" kern="1200" dirty="0" smtClean="0">
                          <a:solidFill>
                            <a:srgbClr val="000000"/>
                          </a:solidFill>
                          <a:latin typeface="Century Gothic" panose="020B0502020202020204" pitchFamily="34" charset="0"/>
                          <a:cs typeface="Arial" pitchFamily="34" charset="0"/>
                        </a:rPr>
                        <a:t>Granting financial incentives and channeling them towards national priorities </a:t>
                      </a:r>
                      <a:r>
                        <a:rPr lang="en-US" sz="1100" b="0" u="none" strike="noStrike" kern="1200" dirty="0" smtClean="0">
                          <a:solidFill>
                            <a:srgbClr val="000000"/>
                          </a:solidFill>
                          <a:latin typeface="Century Gothic" panose="020B0502020202020204" pitchFamily="34" charset="0"/>
                          <a:cs typeface="Arial" pitchFamily="34" charset="0"/>
                        </a:rPr>
                        <a:t>(Regional development, employment, increased value added and competitiveness, sustainable development)</a:t>
                      </a:r>
                      <a:endParaRPr lang="fr-FR" sz="1100" b="0" u="none" strike="noStrike" kern="1200" dirty="0" smtClean="0">
                        <a:solidFill>
                          <a:srgbClr val="000000"/>
                        </a:solidFill>
                        <a:latin typeface="Century Gothic" panose="020B0502020202020204" pitchFamily="34" charset="0"/>
                        <a:ea typeface="+mn-ea"/>
                        <a:cs typeface="Arial" pitchFamily="34" charset="0"/>
                      </a:endParaRPr>
                    </a:p>
                  </a:txBody>
                  <a:tcPr marL="45709" marR="45709" marT="45725" marB="45725"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r h="700853">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rtl="0" eaLnBrk="1" fontAlgn="auto" latinLnBrk="0" hangingPunct="1">
                        <a:spcBef>
                          <a:spcPts val="0"/>
                        </a:spcBef>
                        <a:spcAft>
                          <a:spcPts val="0"/>
                        </a:spcAft>
                        <a:buClrTx/>
                        <a:buSzPts val="1100"/>
                        <a:buFont typeface="+mj-lt"/>
                        <a:buAutoNum type="arabicPeriod" startAt="10"/>
                      </a:pPr>
                      <a:r>
                        <a:rPr lang="en-US" sz="1100" b="1" u="none" strike="noStrike" kern="1200" dirty="0" smtClean="0">
                          <a:solidFill>
                            <a:srgbClr val="000000"/>
                          </a:solidFill>
                          <a:latin typeface="Century Gothic" panose="020B0502020202020204" pitchFamily="34" charset="0"/>
                          <a:cs typeface="Arial" pitchFamily="34" charset="0"/>
                        </a:rPr>
                        <a:t>Granting special privileges to projects of national interest (</a:t>
                      </a:r>
                      <a:r>
                        <a:rPr lang="en-US" sz="1100" b="0" u="none" strike="noStrike" kern="1200" dirty="0" smtClean="0">
                          <a:solidFill>
                            <a:srgbClr val="000000"/>
                          </a:solidFill>
                          <a:latin typeface="Century Gothic" panose="020B0502020202020204" pitchFamily="34" charset="0"/>
                          <a:cs typeface="Arial" pitchFamily="34" charset="0"/>
                        </a:rPr>
                        <a:t>benchmarks according to national priorities)</a:t>
                      </a:r>
                      <a:endParaRPr lang="ar-TN" sz="1100" b="0" i="0" u="none" strike="noStrike" kern="1200" dirty="0" smtClean="0">
                        <a:solidFill>
                          <a:srgbClr val="000000"/>
                        </a:solidFill>
                        <a:latin typeface="Century Gothic" panose="020B0502020202020204" pitchFamily="34" charset="0"/>
                        <a:ea typeface="+mn-ea"/>
                        <a:cs typeface="Arial" pitchFamily="34" charset="0"/>
                      </a:endParaRPr>
                    </a:p>
                  </a:txBody>
                  <a:tcPr marL="45709" marR="45709" marT="45725" marB="45725" anchor="ct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2" name="Content Placeholder 3"/>
          <p:cNvGraphicFramePr>
            <a:graphicFrameLocks/>
          </p:cNvGraphicFramePr>
          <p:nvPr/>
        </p:nvGraphicFramePr>
        <p:xfrm>
          <a:off x="393700" y="1528763"/>
          <a:ext cx="2571750" cy="4848226"/>
        </p:xfrm>
        <a:graphic>
          <a:graphicData uri="http://schemas.openxmlformats.org/drawingml/2006/table">
            <a:tbl>
              <a:tblPr firstRow="1" bandRow="1"/>
              <a:tblGrid>
                <a:gridCol w="2571750"/>
              </a:tblGrid>
              <a:tr h="497741">
                <a:tc>
                  <a:txBody>
                    <a:bodyPr/>
                    <a:lstStyle>
                      <a:lvl1pPr marL="0" algn="l" defTabSz="914400" rtl="0" eaLnBrk="1" latinLnBrk="0" hangingPunct="1">
                        <a:defRPr sz="1800" b="1" kern="1200">
                          <a:solidFill>
                            <a:schemeClr val="bg1"/>
                          </a:solidFill>
                          <a:latin typeface="Simplified Arabic"/>
                          <a:cs typeface="Simplified Arabic"/>
                        </a:defRPr>
                      </a:lvl1pPr>
                      <a:lvl2pPr marL="457200" algn="l" defTabSz="914400" rtl="0" eaLnBrk="1" latinLnBrk="0" hangingPunct="1">
                        <a:defRPr sz="1800" b="1" kern="1200">
                          <a:solidFill>
                            <a:schemeClr val="bg1"/>
                          </a:solidFill>
                          <a:latin typeface="Simplified Arabic"/>
                          <a:cs typeface="Simplified Arabic"/>
                        </a:defRPr>
                      </a:lvl2pPr>
                      <a:lvl3pPr marL="914400" algn="l" defTabSz="914400" rtl="0" eaLnBrk="1" latinLnBrk="0" hangingPunct="1">
                        <a:defRPr sz="1800" b="1" kern="1200">
                          <a:solidFill>
                            <a:schemeClr val="bg1"/>
                          </a:solidFill>
                          <a:latin typeface="Simplified Arabic"/>
                          <a:cs typeface="Simplified Arabic"/>
                        </a:defRPr>
                      </a:lvl3pPr>
                      <a:lvl4pPr marL="1371600" algn="l" defTabSz="914400" rtl="0" eaLnBrk="1" latinLnBrk="0" hangingPunct="1">
                        <a:defRPr sz="1800" b="1" kern="1200">
                          <a:solidFill>
                            <a:schemeClr val="bg1"/>
                          </a:solidFill>
                          <a:latin typeface="Simplified Arabic"/>
                          <a:cs typeface="Simplified Arabic"/>
                        </a:defRPr>
                      </a:lvl4pPr>
                      <a:lvl5pPr marL="1828800" algn="l" defTabSz="914400" rtl="0" eaLnBrk="1" latinLnBrk="0" hangingPunct="1">
                        <a:defRPr sz="1800" b="1" kern="1200">
                          <a:solidFill>
                            <a:schemeClr val="bg1"/>
                          </a:solidFill>
                          <a:latin typeface="Simplified Arabic"/>
                          <a:cs typeface="Simplified Arabic"/>
                        </a:defRPr>
                      </a:lvl5pPr>
                      <a:lvl6pPr marL="2286000" algn="l" defTabSz="914400" rtl="0" eaLnBrk="1" latinLnBrk="0" hangingPunct="1">
                        <a:defRPr sz="1800" b="1" kern="1200">
                          <a:solidFill>
                            <a:schemeClr val="bg1"/>
                          </a:solidFill>
                          <a:latin typeface="Simplified Arabic"/>
                          <a:cs typeface="Simplified Arabic"/>
                        </a:defRPr>
                      </a:lvl6pPr>
                      <a:lvl7pPr marL="2743200" algn="l" defTabSz="914400" rtl="0" eaLnBrk="1" latinLnBrk="0" hangingPunct="1">
                        <a:defRPr sz="1800" b="1" kern="1200">
                          <a:solidFill>
                            <a:schemeClr val="bg1"/>
                          </a:solidFill>
                          <a:latin typeface="Simplified Arabic"/>
                          <a:cs typeface="Simplified Arabic"/>
                        </a:defRPr>
                      </a:lvl7pPr>
                      <a:lvl8pPr marL="3200400" algn="l" defTabSz="914400" rtl="0" eaLnBrk="1" latinLnBrk="0" hangingPunct="1">
                        <a:defRPr sz="1800" b="1" kern="1200">
                          <a:solidFill>
                            <a:schemeClr val="bg1"/>
                          </a:solidFill>
                          <a:latin typeface="Simplified Arabic"/>
                          <a:cs typeface="Simplified Arabic"/>
                        </a:defRPr>
                      </a:lvl8pPr>
                      <a:lvl9pPr marL="3657600" algn="l" defTabSz="914400" rtl="0" eaLnBrk="1" latinLnBrk="0" hangingPunct="1">
                        <a:defRPr sz="1800" b="1" kern="1200">
                          <a:solidFill>
                            <a:schemeClr val="bg1"/>
                          </a:solidFill>
                          <a:latin typeface="Simplified Arabic"/>
                          <a:cs typeface="Simplified Arabic"/>
                        </a:defRPr>
                      </a:lvl9pPr>
                    </a:lstStyle>
                    <a:p>
                      <a:pPr marL="361950" marR="0" indent="-363538" algn="ctr" defTabSz="914400" rtl="0" eaLnBrk="1" fontAlgn="auto" latinLnBrk="0" hangingPunct="1">
                        <a:lnSpc>
                          <a:spcPct val="100000"/>
                        </a:lnSpc>
                        <a:spcBef>
                          <a:spcPts val="600"/>
                        </a:spcBef>
                        <a:spcAft>
                          <a:spcPts val="0"/>
                        </a:spcAft>
                        <a:buClrTx/>
                        <a:buSzTx/>
                        <a:buFont typeface="+mj-lt"/>
                        <a:buNone/>
                        <a:tabLst/>
                        <a:defRPr/>
                      </a:pPr>
                      <a:r>
                        <a:rPr lang="fr-FR" sz="1600" b="1" kern="1200" cap="small" dirty="0" smtClean="0">
                          <a:solidFill>
                            <a:schemeClr val="tx2"/>
                          </a:solidFill>
                          <a:latin typeface="Century Gothic" charset="0"/>
                          <a:ea typeface="Century Gothic" charset="0"/>
                          <a:cs typeface="+mn-cs"/>
                        </a:rPr>
                        <a:t>I. </a:t>
                      </a:r>
                      <a:r>
                        <a:rPr lang="fr-FR" sz="1600" b="1" kern="1200" cap="small" dirty="0" err="1" smtClean="0">
                          <a:solidFill>
                            <a:schemeClr val="tx2"/>
                          </a:solidFill>
                          <a:latin typeface="Century Gothic" charset="0"/>
                          <a:ea typeface="Century Gothic" charset="0"/>
                          <a:cs typeface="+mn-cs"/>
                        </a:rPr>
                        <a:t>Market</a:t>
                      </a:r>
                      <a:r>
                        <a:rPr lang="fr-FR" sz="1600" b="1" kern="1200" cap="small" dirty="0" smtClean="0">
                          <a:solidFill>
                            <a:schemeClr val="tx2"/>
                          </a:solidFill>
                          <a:latin typeface="Century Gothic" charset="0"/>
                          <a:ea typeface="Century Gothic" charset="0"/>
                          <a:cs typeface="+mn-cs"/>
                        </a:rPr>
                        <a:t> </a:t>
                      </a:r>
                      <a:r>
                        <a:rPr lang="fr-FR" sz="1600" b="1" kern="1200" cap="small" dirty="0" err="1" smtClean="0">
                          <a:solidFill>
                            <a:schemeClr val="tx2"/>
                          </a:solidFill>
                          <a:latin typeface="Century Gothic" charset="0"/>
                          <a:ea typeface="Century Gothic" charset="0"/>
                          <a:cs typeface="+mn-cs"/>
                        </a:rPr>
                        <a:t>access</a:t>
                      </a:r>
                      <a:r>
                        <a:rPr lang="fr-FR" sz="1600" b="1" kern="1200" cap="small" dirty="0" smtClean="0">
                          <a:solidFill>
                            <a:schemeClr val="tx2"/>
                          </a:solidFill>
                          <a:latin typeface="Century Gothic" charset="0"/>
                          <a:ea typeface="Century Gothic" charset="0"/>
                          <a:cs typeface="+mn-cs"/>
                        </a:rPr>
                        <a:t> </a:t>
                      </a:r>
                      <a:r>
                        <a:rPr lang="fr-FR" sz="1600" b="1" kern="1200" cap="small" dirty="0" err="1" smtClean="0">
                          <a:solidFill>
                            <a:schemeClr val="tx2"/>
                          </a:solidFill>
                          <a:latin typeface="Century Gothic" charset="0"/>
                          <a:ea typeface="Century Gothic" charset="0"/>
                          <a:cs typeface="+mn-cs"/>
                        </a:rPr>
                        <a:t>rules</a:t>
                      </a:r>
                      <a:endParaRPr lang="ar-TN" sz="1600" b="1" kern="1200" cap="small" dirty="0" smtClean="0">
                        <a:solidFill>
                          <a:schemeClr val="tx2"/>
                        </a:solidFill>
                        <a:latin typeface="Century Gothic" charset="0"/>
                        <a:ea typeface="Century Gothic" charset="0"/>
                        <a:cs typeface="+mn-cs"/>
                      </a:endParaRPr>
                    </a:p>
                  </a:txBody>
                  <a:tcPr marL="84405" marR="84405" marT="45723" marB="45723" anchor="ctr">
                    <a:lnL w="12700" cap="flat" cmpd="sng" algn="ctr">
                      <a:solidFill>
                        <a:srgbClr val="FFFFFF">
                          <a:lumMod val="50000"/>
                        </a:srgbClr>
                      </a:solidFill>
                      <a:prstDash val="solid"/>
                      <a:round/>
                      <a:headEnd type="none" w="med" len="med"/>
                      <a:tailEnd type="none" w="med" len="med"/>
                    </a:lnL>
                    <a:lnR w="12700" cap="flat" cmpd="sng" algn="ctr">
                      <a:solidFill>
                        <a:srgbClr val="FFFFFF">
                          <a:lumMod val="50000"/>
                        </a:srgbClr>
                      </a:solidFill>
                      <a:prstDash val="solid"/>
                      <a:round/>
                      <a:headEnd type="none" w="med" len="med"/>
                      <a:tailEnd type="none" w="med" len="med"/>
                    </a:lnR>
                    <a:lnT w="12700" cap="flat" cmpd="sng" algn="ctr">
                      <a:solidFill>
                        <a:srgbClr val="FFFFFF">
                          <a:lumMod val="50000"/>
                        </a:srgbClr>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r>
              <a:tr h="762058">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1100" b="1" kern="1200" noProof="0" dirty="0" smtClean="0">
                          <a:solidFill>
                            <a:srgbClr val="000000"/>
                          </a:solidFill>
                          <a:latin typeface="Century Gothic" panose="020B0502020202020204" pitchFamily="34" charset="0"/>
                          <a:ea typeface="+mn-ea"/>
                          <a:cs typeface="Arial" pitchFamily="34" charset="0"/>
                          <a:sym typeface="Wingdings" pitchFamily="2" charset="2"/>
                        </a:rPr>
                        <a:t>No reference to any authorisation in the new law </a:t>
                      </a: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and removing the authorisation of the High Investment Commission </a:t>
                      </a:r>
                    </a:p>
                  </a:txBody>
                  <a:tcPr marL="45720" marR="45720" marT="45723" marB="45723"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579251">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startAt="2"/>
                        <a:tabLst/>
                        <a:defRPr/>
                      </a:pP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Setting up </a:t>
                      </a:r>
                      <a:r>
                        <a:rPr lang="en-GB" sz="1100" b="1" kern="1200" noProof="0" dirty="0" smtClean="0">
                          <a:solidFill>
                            <a:srgbClr val="000000"/>
                          </a:solidFill>
                          <a:latin typeface="Century Gothic" panose="020B0502020202020204" pitchFamily="34" charset="0"/>
                          <a:ea typeface="+mn-ea"/>
                          <a:cs typeface="Arial" pitchFamily="34" charset="0"/>
                          <a:sym typeface="Wingdings" pitchFamily="2" charset="2"/>
                        </a:rPr>
                        <a:t>a negative list </a:t>
                      </a: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of authorisations within a year</a:t>
                      </a:r>
                    </a:p>
                  </a:txBody>
                  <a:tcPr marL="45720" marR="45720" marT="45723" marB="45723"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1432669">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startAt="3"/>
                        <a:tabLst/>
                        <a:defRPr/>
                      </a:pP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Setting the </a:t>
                      </a:r>
                      <a:r>
                        <a:rPr lang="en-GB" sz="1100" b="1" kern="1200" noProof="0" dirty="0" smtClean="0">
                          <a:solidFill>
                            <a:srgbClr val="000000"/>
                          </a:solidFill>
                          <a:latin typeface="Century Gothic" panose="020B0502020202020204" pitchFamily="34" charset="0"/>
                          <a:ea typeface="+mn-ea"/>
                          <a:cs typeface="Arial" pitchFamily="34" charset="0"/>
                          <a:sym typeface="Wingdings" pitchFamily="2" charset="2"/>
                        </a:rPr>
                        <a:t>deadlines of , authorisation agreement</a:t>
                      </a: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a:t>
                      </a:r>
                      <a:r>
                        <a:rPr lang="en-GB" sz="1100" b="0" kern="1200" baseline="0" noProof="0" dirty="0" smtClean="0">
                          <a:solidFill>
                            <a:srgbClr val="000000"/>
                          </a:solidFill>
                          <a:latin typeface="Century Gothic" panose="020B0502020202020204" pitchFamily="34" charset="0"/>
                          <a:ea typeface="+mn-ea"/>
                          <a:cs typeface="Arial" pitchFamily="34" charset="0"/>
                          <a:sym typeface="Wingdings" pitchFamily="2" charset="2"/>
                        </a:rPr>
                        <a:t> re</a:t>
                      </a: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quirement to justify the refusal to grant an authorisation, and considering the non-response of administrative authorities beyond the deadlines as an implicit authorisation</a:t>
                      </a:r>
                    </a:p>
                  </a:txBody>
                  <a:tcPr marL="45720" marR="45720" marT="45723" marB="45723"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929711">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lang="en-GB" sz="1100" b="1" kern="1200" noProof="0" dirty="0" smtClean="0">
                          <a:solidFill>
                            <a:srgbClr val="000000"/>
                          </a:solidFill>
                          <a:latin typeface="Century Gothic" panose="020B0502020202020204" pitchFamily="34" charset="0"/>
                          <a:ea typeface="+mn-ea"/>
                          <a:cs typeface="Arial" pitchFamily="34" charset="0"/>
                          <a:sym typeface="Wingdings" pitchFamily="2" charset="2"/>
                        </a:rPr>
                        <a:t>Employing foreign managerial staff (30 % of all managerial</a:t>
                      </a:r>
                      <a:r>
                        <a:rPr lang="en-GB" sz="1100" b="1" kern="1200" baseline="0" noProof="0" dirty="0" smtClean="0">
                          <a:solidFill>
                            <a:srgbClr val="000000"/>
                          </a:solidFill>
                          <a:latin typeface="Century Gothic" panose="020B0502020202020204" pitchFamily="34" charset="0"/>
                          <a:ea typeface="+mn-ea"/>
                          <a:cs typeface="Arial" pitchFamily="34" charset="0"/>
                          <a:sym typeface="Wingdings" pitchFamily="2" charset="2"/>
                        </a:rPr>
                        <a:t> staff </a:t>
                      </a: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in the first 3 years and 10 % thereafter, with 4 foreign managerial staff in all cases)</a:t>
                      </a:r>
                    </a:p>
                  </a:txBody>
                  <a:tcPr marL="45720" marR="45720" marT="45723" marB="45723"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646796">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lang="en-GB" sz="1100" b="0" kern="1200" noProof="0" dirty="0" smtClean="0">
                          <a:solidFill>
                            <a:srgbClr val="000000"/>
                          </a:solidFill>
                          <a:latin typeface="Century Gothic" panose="020B0502020202020204" pitchFamily="34" charset="0"/>
                          <a:ea typeface="+mn-ea"/>
                          <a:cs typeface="Arial" pitchFamily="34" charset="0"/>
                          <a:sym typeface="Wingdings" pitchFamily="2" charset="2"/>
                        </a:rPr>
                        <a:t>Enabling foreign investors to </a:t>
                      </a:r>
                      <a:r>
                        <a:rPr lang="en-GB" sz="1100" b="1" kern="1200" noProof="0" dirty="0" smtClean="0">
                          <a:solidFill>
                            <a:srgbClr val="000000"/>
                          </a:solidFill>
                          <a:latin typeface="Century Gothic" panose="020B0502020202020204" pitchFamily="34" charset="0"/>
                          <a:ea typeface="+mn-ea"/>
                          <a:cs typeface="Arial" pitchFamily="34" charset="0"/>
                          <a:sym typeface="Wingdings" pitchFamily="2" charset="2"/>
                        </a:rPr>
                        <a:t>own non-agricultural properties</a:t>
                      </a:r>
                    </a:p>
                  </a:txBody>
                  <a:tcPr marL="45720" marR="45720" marT="45723" marB="45723"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3" name="Table 6"/>
          <p:cNvGraphicFramePr>
            <a:graphicFrameLocks noGrp="1"/>
          </p:cNvGraphicFramePr>
          <p:nvPr/>
        </p:nvGraphicFramePr>
        <p:xfrm>
          <a:off x="6394450" y="1528763"/>
          <a:ext cx="2500313" cy="4714875"/>
        </p:xfrm>
        <a:graphic>
          <a:graphicData uri="http://schemas.openxmlformats.org/drawingml/2006/table">
            <a:tbl>
              <a:tblPr firstRow="1" bandRow="1"/>
              <a:tblGrid>
                <a:gridCol w="2500313"/>
              </a:tblGrid>
              <a:tr h="789603">
                <a:tc>
                  <a:txBody>
                    <a:bodyPr/>
                    <a:lstStyle>
                      <a:lvl1pPr marL="0" algn="l" defTabSz="914400" rtl="0" eaLnBrk="1" latinLnBrk="0" hangingPunct="1">
                        <a:defRPr sz="1800" b="1" kern="1200">
                          <a:solidFill>
                            <a:schemeClr val="bg1"/>
                          </a:solidFill>
                          <a:latin typeface="Simplified Arabic"/>
                          <a:cs typeface="Simplified Arabic"/>
                        </a:defRPr>
                      </a:lvl1pPr>
                      <a:lvl2pPr marL="457200" algn="l" defTabSz="914400" rtl="0" eaLnBrk="1" latinLnBrk="0" hangingPunct="1">
                        <a:defRPr sz="1800" b="1" kern="1200">
                          <a:solidFill>
                            <a:schemeClr val="bg1"/>
                          </a:solidFill>
                          <a:latin typeface="Simplified Arabic"/>
                          <a:cs typeface="Simplified Arabic"/>
                        </a:defRPr>
                      </a:lvl2pPr>
                      <a:lvl3pPr marL="914400" algn="l" defTabSz="914400" rtl="0" eaLnBrk="1" latinLnBrk="0" hangingPunct="1">
                        <a:defRPr sz="1800" b="1" kern="1200">
                          <a:solidFill>
                            <a:schemeClr val="bg1"/>
                          </a:solidFill>
                          <a:latin typeface="Simplified Arabic"/>
                          <a:cs typeface="Simplified Arabic"/>
                        </a:defRPr>
                      </a:lvl3pPr>
                      <a:lvl4pPr marL="1371600" algn="l" defTabSz="914400" rtl="0" eaLnBrk="1" latinLnBrk="0" hangingPunct="1">
                        <a:defRPr sz="1800" b="1" kern="1200">
                          <a:solidFill>
                            <a:schemeClr val="bg1"/>
                          </a:solidFill>
                          <a:latin typeface="Simplified Arabic"/>
                          <a:cs typeface="Simplified Arabic"/>
                        </a:defRPr>
                      </a:lvl4pPr>
                      <a:lvl5pPr marL="1828800" algn="l" defTabSz="914400" rtl="0" eaLnBrk="1" latinLnBrk="0" hangingPunct="1">
                        <a:defRPr sz="1800" b="1" kern="1200">
                          <a:solidFill>
                            <a:schemeClr val="bg1"/>
                          </a:solidFill>
                          <a:latin typeface="Simplified Arabic"/>
                          <a:cs typeface="Simplified Arabic"/>
                        </a:defRPr>
                      </a:lvl5pPr>
                      <a:lvl6pPr marL="2286000" algn="l" defTabSz="914400" rtl="0" eaLnBrk="1" latinLnBrk="0" hangingPunct="1">
                        <a:defRPr sz="1800" b="1" kern="1200">
                          <a:solidFill>
                            <a:schemeClr val="bg1"/>
                          </a:solidFill>
                          <a:latin typeface="Simplified Arabic"/>
                          <a:cs typeface="Simplified Arabic"/>
                        </a:defRPr>
                      </a:lvl6pPr>
                      <a:lvl7pPr marL="2743200" algn="l" defTabSz="914400" rtl="0" eaLnBrk="1" latinLnBrk="0" hangingPunct="1">
                        <a:defRPr sz="1800" b="1" kern="1200">
                          <a:solidFill>
                            <a:schemeClr val="bg1"/>
                          </a:solidFill>
                          <a:latin typeface="Simplified Arabic"/>
                          <a:cs typeface="Simplified Arabic"/>
                        </a:defRPr>
                      </a:lvl7pPr>
                      <a:lvl8pPr marL="3200400" algn="l" defTabSz="914400" rtl="0" eaLnBrk="1" latinLnBrk="0" hangingPunct="1">
                        <a:defRPr sz="1800" b="1" kern="1200">
                          <a:solidFill>
                            <a:schemeClr val="bg1"/>
                          </a:solidFill>
                          <a:latin typeface="Simplified Arabic"/>
                          <a:cs typeface="Simplified Arabic"/>
                        </a:defRPr>
                      </a:lvl8pPr>
                      <a:lvl9pPr marL="3657600" algn="l" defTabSz="914400" rtl="0" eaLnBrk="1" latinLnBrk="0" hangingPunct="1">
                        <a:defRPr sz="1800" b="1" kern="1200">
                          <a:solidFill>
                            <a:schemeClr val="bg1"/>
                          </a:solidFill>
                          <a:latin typeface="Simplified Arabic"/>
                          <a:cs typeface="Simplified Arabic"/>
                        </a:defRPr>
                      </a:lvl9pPr>
                    </a:lstStyle>
                    <a:p>
                      <a:pPr marL="285559" marR="0" indent="-285750" algn="ctr" defTabSz="914400" rtl="0" eaLnBrk="1" fontAlgn="auto" latinLnBrk="0" hangingPunct="1">
                        <a:lnSpc>
                          <a:spcPct val="100000"/>
                        </a:lnSpc>
                        <a:spcBef>
                          <a:spcPts val="0"/>
                        </a:spcBef>
                        <a:spcAft>
                          <a:spcPts val="0"/>
                        </a:spcAft>
                        <a:buClrTx/>
                        <a:buSzTx/>
                        <a:buFont typeface="+mj-lt"/>
                        <a:buNone/>
                        <a:tabLst/>
                        <a:defRPr/>
                      </a:pPr>
                      <a:r>
                        <a:rPr lang="en-US" sz="1600" b="1" kern="1200" cap="small" dirty="0" smtClean="0">
                          <a:solidFill>
                            <a:schemeClr val="tx2"/>
                          </a:solidFill>
                          <a:latin typeface="Century Gothic" charset="0"/>
                          <a:ea typeface="Century Gothic" charset="0"/>
                          <a:cs typeface="+mn-cs"/>
                        </a:rPr>
                        <a:t>III</a:t>
                      </a:r>
                      <a:r>
                        <a:rPr lang="en-US" sz="1200" kern="1200" dirty="0" smtClean="0">
                          <a:solidFill>
                            <a:schemeClr val="tx2"/>
                          </a:solidFill>
                          <a:latin typeface="Century Gothic" panose="020B0502020202020204" pitchFamily="34" charset="0"/>
                          <a:cs typeface="Arial" pitchFamily="34" charset="0"/>
                        </a:rPr>
                        <a:t>. </a:t>
                      </a:r>
                      <a:r>
                        <a:rPr lang="en-US" sz="1600" b="1" kern="1200" cap="small" dirty="0" smtClean="0">
                          <a:solidFill>
                            <a:schemeClr val="tx2"/>
                          </a:solidFill>
                          <a:latin typeface="Century Gothic" charset="0"/>
                          <a:ea typeface="Century Gothic" charset="0"/>
                          <a:cs typeface="+mn-cs"/>
                        </a:rPr>
                        <a:t>Investor's</a:t>
                      </a:r>
                      <a:r>
                        <a:rPr lang="en-US" sz="1200" kern="1200" dirty="0" smtClean="0">
                          <a:solidFill>
                            <a:schemeClr val="tx2"/>
                          </a:solidFill>
                          <a:latin typeface="Century Gothic" panose="020B0502020202020204" pitchFamily="34" charset="0"/>
                          <a:cs typeface="Arial" pitchFamily="34" charset="0"/>
                        </a:rPr>
                        <a:t> </a:t>
                      </a:r>
                      <a:r>
                        <a:rPr lang="en-US" sz="1600" b="1" kern="1200" cap="small" dirty="0" smtClean="0">
                          <a:solidFill>
                            <a:schemeClr val="tx2"/>
                          </a:solidFill>
                          <a:latin typeface="Century Gothic" charset="0"/>
                          <a:ea typeface="Century Gothic" charset="0"/>
                          <a:cs typeface="+mn-cs"/>
                        </a:rPr>
                        <a:t>Safeguards</a:t>
                      </a:r>
                      <a:r>
                        <a:rPr lang="en-US" sz="1200" kern="1200" dirty="0" smtClean="0">
                          <a:solidFill>
                            <a:schemeClr val="tx2"/>
                          </a:solidFill>
                          <a:latin typeface="Century Gothic" panose="020B0502020202020204" pitchFamily="34" charset="0"/>
                          <a:cs typeface="Arial" pitchFamily="34" charset="0"/>
                        </a:rPr>
                        <a:t> </a:t>
                      </a:r>
                    </a:p>
                    <a:p>
                      <a:pPr marL="285559" marR="0" indent="-285750" algn="ctr" defTabSz="914400" rtl="1" eaLnBrk="1" fontAlgn="auto" latinLnBrk="0" hangingPunct="1">
                        <a:lnSpc>
                          <a:spcPct val="100000"/>
                        </a:lnSpc>
                        <a:spcBef>
                          <a:spcPts val="0"/>
                        </a:spcBef>
                        <a:spcAft>
                          <a:spcPts val="0"/>
                        </a:spcAft>
                        <a:buClrTx/>
                        <a:buSzTx/>
                        <a:buFont typeface="+mj-lt"/>
                        <a:buNone/>
                        <a:tabLst/>
                        <a:defRPr/>
                      </a:pPr>
                      <a:r>
                        <a:rPr lang="en-US" sz="1600" b="1" kern="1200" cap="small" dirty="0" smtClean="0">
                          <a:solidFill>
                            <a:schemeClr val="tx2"/>
                          </a:solidFill>
                          <a:latin typeface="Century Gothic" charset="0"/>
                          <a:ea typeface="Century Gothic" charset="0"/>
                          <a:cs typeface="+mn-cs"/>
                        </a:rPr>
                        <a:t>and</a:t>
                      </a:r>
                      <a:r>
                        <a:rPr lang="en-US" sz="1200" kern="1200" dirty="0" smtClean="0">
                          <a:solidFill>
                            <a:schemeClr val="tx2"/>
                          </a:solidFill>
                          <a:latin typeface="Century Gothic" panose="020B0502020202020204" pitchFamily="34" charset="0"/>
                          <a:cs typeface="Arial" pitchFamily="34" charset="0"/>
                        </a:rPr>
                        <a:t> </a:t>
                      </a:r>
                      <a:r>
                        <a:rPr lang="en-US" sz="1600" b="1" kern="1200" cap="small" dirty="0" smtClean="0">
                          <a:solidFill>
                            <a:schemeClr val="tx2"/>
                          </a:solidFill>
                          <a:latin typeface="Century Gothic" charset="0"/>
                          <a:ea typeface="Century Gothic" charset="0"/>
                          <a:cs typeface="+mn-cs"/>
                        </a:rPr>
                        <a:t>Obligations</a:t>
                      </a:r>
                      <a:endParaRPr lang="ar-TN" sz="1600" b="1" kern="1200" cap="small" dirty="0" smtClean="0">
                        <a:solidFill>
                          <a:schemeClr val="tx2"/>
                        </a:solidFill>
                        <a:latin typeface="Century Gothic" charset="0"/>
                        <a:ea typeface="Century Gothic" charset="0"/>
                        <a:cs typeface="+mn-cs"/>
                      </a:endParaRPr>
                    </a:p>
                  </a:txBody>
                  <a:tcPr marL="45720" marR="45720" anchor="ctr">
                    <a:lnL w="12700" cap="flat" cmpd="sng" algn="ctr">
                      <a:solidFill>
                        <a:srgbClr val="D8D8D8">
                          <a:lumMod val="90000"/>
                        </a:srgbClr>
                      </a:solidFill>
                      <a:prstDash val="solid"/>
                      <a:round/>
                      <a:headEnd type="none" w="med" len="med"/>
                      <a:tailEnd type="none" w="med" len="med"/>
                    </a:lnL>
                    <a:lnR w="12700" cap="flat" cmpd="sng" algn="ctr">
                      <a:solidFill>
                        <a:srgbClr val="D8D8D8">
                          <a:lumMod val="90000"/>
                        </a:srgbClr>
                      </a:solidFill>
                      <a:prstDash val="solid"/>
                      <a:round/>
                      <a:headEnd type="none" w="med" len="med"/>
                      <a:tailEnd type="none" w="med" len="med"/>
                    </a:lnR>
                    <a:lnT w="12700" cap="flat" cmpd="sng" algn="ctr">
                      <a:solidFill>
                        <a:srgbClr val="D8D8D8">
                          <a:lumMod val="90000"/>
                        </a:srgbClr>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r>
              <a:tr h="642288">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Pts val="1100"/>
                        <a:buFont typeface="+mj-lt"/>
                        <a:buAutoNum type="arabicPeriod" startAt="11"/>
                        <a:tabLst/>
                        <a:defRPr/>
                      </a:pPr>
                      <a:r>
                        <a:rPr lang="en-US" sz="1100" b="1" kern="1200" dirty="0" smtClean="0">
                          <a:solidFill>
                            <a:srgbClr val="000000"/>
                          </a:solidFill>
                          <a:latin typeface="Century Gothic" panose="020B0502020202020204" pitchFamily="34" charset="0"/>
                          <a:ea typeface="+mn-ea"/>
                          <a:cs typeface="Arial" pitchFamily="34" charset="0"/>
                          <a:sym typeface="Wingdings" pitchFamily="2" charset="2"/>
                        </a:rPr>
                        <a:t>The principle of investors' freedom to transfer funds in foreign currency abroad</a:t>
                      </a:r>
                      <a:endParaRPr lang="ar-TN" sz="1100" b="1" kern="1200" dirty="0">
                        <a:solidFill>
                          <a:srgbClr val="000000"/>
                        </a:solidFill>
                        <a:latin typeface="Century Gothic" panose="020B0502020202020204" pitchFamily="34" charset="0"/>
                        <a:ea typeface="+mn-ea"/>
                        <a:cs typeface="Arial" pitchFamily="34" charset="0"/>
                        <a:sym typeface="Wingdings" pitchFamily="2" charset="2"/>
                      </a:endParaRPr>
                    </a:p>
                  </a:txBody>
                  <a:tcPr marL="45720" marR="45720"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694594">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Pts val="1100"/>
                        <a:buFont typeface="+mj-lt"/>
                        <a:buAutoNum type="arabicPeriod" startAt="12"/>
                        <a:tabLst/>
                        <a:defRPr/>
                      </a:pPr>
                      <a:r>
                        <a:rPr lang="en-US" sz="1100" b="1" kern="1200" dirty="0" smtClean="0">
                          <a:solidFill>
                            <a:srgbClr val="000000"/>
                          </a:solidFill>
                          <a:latin typeface="Century Gothic" panose="020B0502020202020204" pitchFamily="34" charset="0"/>
                          <a:ea typeface="+mn-ea"/>
                          <a:cs typeface="Arial" pitchFamily="34" charset="0"/>
                          <a:sym typeface="Wingdings" pitchFamily="2" charset="2"/>
                        </a:rPr>
                        <a:t>Provisions granting fair and equitable treatment</a:t>
                      </a:r>
                      <a:endParaRPr lang="ar-TN" sz="1100" b="1" kern="1200" dirty="0">
                        <a:solidFill>
                          <a:srgbClr val="000000"/>
                        </a:solidFill>
                        <a:latin typeface="Century Gothic" panose="020B0502020202020204" pitchFamily="34" charset="0"/>
                        <a:ea typeface="+mn-ea"/>
                        <a:cs typeface="Arial" pitchFamily="34" charset="0"/>
                        <a:sym typeface="Wingdings" pitchFamily="2" charset="2"/>
                      </a:endParaRPr>
                    </a:p>
                  </a:txBody>
                  <a:tcPr marL="45720" marR="45720"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827386">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rtl="0" eaLnBrk="1" fontAlgn="auto" latinLnBrk="0" hangingPunct="1">
                        <a:spcBef>
                          <a:spcPts val="0"/>
                        </a:spcBef>
                        <a:spcAft>
                          <a:spcPts val="0"/>
                        </a:spcAft>
                        <a:buClrTx/>
                        <a:buSzPts val="1100"/>
                        <a:buFont typeface="+mj-lt"/>
                        <a:buAutoNum type="arabicPeriod" startAt="13"/>
                      </a:pPr>
                      <a:r>
                        <a:rPr lang="en-US" sz="1100" b="1" kern="1200" dirty="0" smtClean="0">
                          <a:solidFill>
                            <a:srgbClr val="000000"/>
                          </a:solidFill>
                          <a:latin typeface="Century Gothic" panose="020B0502020202020204" pitchFamily="34" charset="0"/>
                          <a:ea typeface="+mn-ea"/>
                          <a:cs typeface="Arial" pitchFamily="34" charset="0"/>
                          <a:sym typeface="Wingdings" pitchFamily="2" charset="2"/>
                        </a:rPr>
                        <a:t>Protecting ownership against non-commercial risks</a:t>
                      </a:r>
                      <a:endParaRPr lang="ar-TN" sz="1100" b="1" kern="1200" dirty="0">
                        <a:solidFill>
                          <a:srgbClr val="000000"/>
                        </a:solidFill>
                        <a:latin typeface="Century Gothic" panose="020B0502020202020204" pitchFamily="34" charset="0"/>
                        <a:ea typeface="+mn-ea"/>
                        <a:cs typeface="Arial" pitchFamily="34" charset="0"/>
                        <a:sym typeface="Wingdings" pitchFamily="2" charset="2"/>
                      </a:endParaRPr>
                    </a:p>
                  </a:txBody>
                  <a:tcPr marL="45720" marR="45720"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878459">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Pts val="1100"/>
                        <a:buFont typeface="+mj-lt"/>
                        <a:buAutoNum type="arabicPeriod" startAt="14"/>
                        <a:tabLst/>
                        <a:defRPr/>
                      </a:pPr>
                      <a:r>
                        <a:rPr lang="en-US" sz="1100" b="1" kern="1200" dirty="0" smtClean="0">
                          <a:solidFill>
                            <a:srgbClr val="000000"/>
                          </a:solidFill>
                          <a:latin typeface="Century Gothic" panose="020B0502020202020204" pitchFamily="34" charset="0"/>
                          <a:ea typeface="+mn-ea"/>
                          <a:cs typeface="Arial" pitchFamily="34" charset="0"/>
                          <a:sym typeface="Wingdings" pitchFamily="2" charset="2"/>
                        </a:rPr>
                        <a:t>Obligations of the responsible investor and respect for the legislation in force</a:t>
                      </a:r>
                      <a:endParaRPr lang="ar-TN" sz="1100" b="1" kern="1200" dirty="0">
                        <a:solidFill>
                          <a:srgbClr val="000000"/>
                        </a:solidFill>
                        <a:latin typeface="Century Gothic" panose="020B0502020202020204" pitchFamily="34" charset="0"/>
                        <a:ea typeface="+mn-ea"/>
                        <a:cs typeface="Arial" pitchFamily="34" charset="0"/>
                        <a:sym typeface="Wingdings" pitchFamily="2" charset="2"/>
                      </a:endParaRPr>
                    </a:p>
                  </a:txBody>
                  <a:tcPr marL="45720" marR="45720"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r h="882545">
                <a:tc>
                  <a:txBody>
                    <a:bodyPr/>
                    <a:lstStyle>
                      <a:lvl1pPr marL="0" algn="l" defTabSz="914400" rtl="0" eaLnBrk="1" latinLnBrk="0" hangingPunct="1">
                        <a:defRPr sz="1800" kern="1200">
                          <a:solidFill>
                            <a:schemeClr val="tx1"/>
                          </a:solidFill>
                          <a:latin typeface="Simplified Arabic"/>
                          <a:cs typeface="Simplified Arabic"/>
                        </a:defRPr>
                      </a:lvl1pPr>
                      <a:lvl2pPr marL="457200" algn="l" defTabSz="914400" rtl="0" eaLnBrk="1" latinLnBrk="0" hangingPunct="1">
                        <a:defRPr sz="1800" kern="1200">
                          <a:solidFill>
                            <a:schemeClr val="tx1"/>
                          </a:solidFill>
                          <a:latin typeface="Simplified Arabic"/>
                          <a:cs typeface="Simplified Arabic"/>
                        </a:defRPr>
                      </a:lvl2pPr>
                      <a:lvl3pPr marL="914400" algn="l" defTabSz="914400" rtl="0" eaLnBrk="1" latinLnBrk="0" hangingPunct="1">
                        <a:defRPr sz="1800" kern="1200">
                          <a:solidFill>
                            <a:schemeClr val="tx1"/>
                          </a:solidFill>
                          <a:latin typeface="Simplified Arabic"/>
                          <a:cs typeface="Simplified Arabic"/>
                        </a:defRPr>
                      </a:lvl3pPr>
                      <a:lvl4pPr marL="1371600" algn="l" defTabSz="914400" rtl="0" eaLnBrk="1" latinLnBrk="0" hangingPunct="1">
                        <a:defRPr sz="1800" kern="1200">
                          <a:solidFill>
                            <a:schemeClr val="tx1"/>
                          </a:solidFill>
                          <a:latin typeface="Simplified Arabic"/>
                          <a:cs typeface="Simplified Arabic"/>
                        </a:defRPr>
                      </a:lvl4pPr>
                      <a:lvl5pPr marL="1828800" algn="l" defTabSz="914400" rtl="0" eaLnBrk="1" latinLnBrk="0" hangingPunct="1">
                        <a:defRPr sz="1800" kern="1200">
                          <a:solidFill>
                            <a:schemeClr val="tx1"/>
                          </a:solidFill>
                          <a:latin typeface="Simplified Arabic"/>
                          <a:cs typeface="Simplified Arabic"/>
                        </a:defRPr>
                      </a:lvl5pPr>
                      <a:lvl6pPr marL="2286000" algn="l" defTabSz="914400" rtl="0" eaLnBrk="1" latinLnBrk="0" hangingPunct="1">
                        <a:defRPr sz="1800" kern="1200">
                          <a:solidFill>
                            <a:schemeClr val="tx1"/>
                          </a:solidFill>
                          <a:latin typeface="Simplified Arabic"/>
                          <a:cs typeface="Simplified Arabic"/>
                        </a:defRPr>
                      </a:lvl6pPr>
                      <a:lvl7pPr marL="2743200" algn="l" defTabSz="914400" rtl="0" eaLnBrk="1" latinLnBrk="0" hangingPunct="1">
                        <a:defRPr sz="1800" kern="1200">
                          <a:solidFill>
                            <a:schemeClr val="tx1"/>
                          </a:solidFill>
                          <a:latin typeface="Simplified Arabic"/>
                          <a:cs typeface="Simplified Arabic"/>
                        </a:defRPr>
                      </a:lvl7pPr>
                      <a:lvl8pPr marL="3200400" algn="l" defTabSz="914400" rtl="0" eaLnBrk="1" latinLnBrk="0" hangingPunct="1">
                        <a:defRPr sz="1800" kern="1200">
                          <a:solidFill>
                            <a:schemeClr val="tx1"/>
                          </a:solidFill>
                          <a:latin typeface="Simplified Arabic"/>
                          <a:cs typeface="Simplified Arabic"/>
                        </a:defRPr>
                      </a:lvl8pPr>
                      <a:lvl9pPr marL="3657600" algn="l" defTabSz="914400" rtl="0" eaLnBrk="1" latinLnBrk="0" hangingPunct="1">
                        <a:defRPr sz="1800" kern="1200">
                          <a:solidFill>
                            <a:schemeClr val="tx1"/>
                          </a:solidFill>
                          <a:latin typeface="Simplified Arabic"/>
                          <a:cs typeface="Simplified Arabic"/>
                        </a:defRPr>
                      </a:lvl9pPr>
                    </a:lstStyle>
                    <a:p>
                      <a:pPr marL="228600" marR="0" indent="-228600" algn="l" defTabSz="914400" rtl="0" eaLnBrk="1" fontAlgn="auto" latinLnBrk="0" hangingPunct="1">
                        <a:lnSpc>
                          <a:spcPct val="100000"/>
                        </a:lnSpc>
                        <a:spcBef>
                          <a:spcPts val="0"/>
                        </a:spcBef>
                        <a:spcAft>
                          <a:spcPts val="0"/>
                        </a:spcAft>
                        <a:buClrTx/>
                        <a:buSzPts val="1100"/>
                        <a:buFont typeface="+mj-lt"/>
                        <a:buAutoNum type="arabicPeriod" startAt="15"/>
                        <a:tabLst/>
                        <a:defRPr/>
                      </a:pPr>
                      <a:r>
                        <a:rPr lang="en-US" sz="1100" b="1" kern="1200" dirty="0" smtClean="0">
                          <a:solidFill>
                            <a:srgbClr val="000000"/>
                          </a:solidFill>
                          <a:latin typeface="Century Gothic" panose="020B0502020202020204" pitchFamily="34" charset="0"/>
                          <a:ea typeface="+mn-ea"/>
                          <a:cs typeface="Arial" pitchFamily="34" charset="0"/>
                          <a:sym typeface="Wingdings" pitchFamily="2" charset="2"/>
                        </a:rPr>
                        <a:t>Integrated system for the settlement of disputes</a:t>
                      </a:r>
                      <a:endParaRPr lang="fr-FR" sz="1100" b="1" kern="1200" dirty="0" smtClean="0">
                        <a:solidFill>
                          <a:srgbClr val="000000"/>
                        </a:solidFill>
                        <a:latin typeface="Century Gothic" panose="020B0502020202020204" pitchFamily="34" charset="0"/>
                        <a:ea typeface="+mn-ea"/>
                        <a:cs typeface="Arial" pitchFamily="34" charset="0"/>
                        <a:sym typeface="Wingdings" pitchFamily="2" charset="2"/>
                      </a:endParaRPr>
                    </a:p>
                    <a:p>
                      <a:pPr marL="228600" marR="0" indent="-228600" algn="r" defTabSz="914400" rtl="1" eaLnBrk="1" fontAlgn="auto" latinLnBrk="0" hangingPunct="1">
                        <a:lnSpc>
                          <a:spcPct val="100000"/>
                        </a:lnSpc>
                        <a:spcBef>
                          <a:spcPts val="0"/>
                        </a:spcBef>
                        <a:spcAft>
                          <a:spcPts val="0"/>
                        </a:spcAft>
                        <a:buClrTx/>
                        <a:buSzPts val="1100"/>
                        <a:buFont typeface="+mj-lt"/>
                        <a:buAutoNum type="arabicPeriod" startAt="15"/>
                        <a:tabLst/>
                        <a:defRPr/>
                      </a:pPr>
                      <a:endParaRPr lang="fr-FR" sz="1200" b="1" kern="1200" dirty="0" smtClean="0">
                        <a:solidFill>
                          <a:srgbClr val="000000"/>
                        </a:solidFill>
                        <a:latin typeface="Century Gothic" panose="020B0502020202020204" pitchFamily="34" charset="0"/>
                        <a:ea typeface="+mn-ea"/>
                        <a:cs typeface="Arial" pitchFamily="34" charset="0"/>
                        <a:sym typeface="Wingdings" pitchFamily="2" charset="2"/>
                      </a:endParaRPr>
                    </a:p>
                    <a:p>
                      <a:pPr marL="228600" marR="0" indent="-228600" algn="r" defTabSz="914400" rtl="1" eaLnBrk="1" fontAlgn="auto" latinLnBrk="0" hangingPunct="1">
                        <a:lnSpc>
                          <a:spcPct val="100000"/>
                        </a:lnSpc>
                        <a:spcBef>
                          <a:spcPts val="0"/>
                        </a:spcBef>
                        <a:spcAft>
                          <a:spcPts val="0"/>
                        </a:spcAft>
                        <a:buClrTx/>
                        <a:buSzPts val="1100"/>
                        <a:buFont typeface="+mj-lt"/>
                        <a:buAutoNum type="arabicPeriod" startAt="15"/>
                        <a:tabLst/>
                        <a:defRPr/>
                      </a:pPr>
                      <a:endParaRPr lang="fr-FR" sz="1200" b="1" kern="1200" dirty="0" smtClean="0">
                        <a:solidFill>
                          <a:srgbClr val="000000"/>
                        </a:solidFill>
                        <a:latin typeface="Century Gothic" panose="020B0502020202020204" pitchFamily="34" charset="0"/>
                        <a:ea typeface="+mn-ea"/>
                        <a:cs typeface="Arial" pitchFamily="34" charset="0"/>
                        <a:sym typeface="Wingdings" pitchFamily="2" charset="2"/>
                      </a:endParaRPr>
                    </a:p>
                  </a:txBody>
                  <a:tcPr marL="45720" marR="45720" anchor="ctr">
                    <a:lnL w="12700" cap="flat" cmpd="sng" algn="ctr">
                      <a:solidFill>
                        <a:srgbClr val="E51B2E"/>
                      </a:solidFill>
                      <a:prstDash val="solid"/>
                      <a:round/>
                      <a:headEnd type="none" w="med" len="med"/>
                      <a:tailEnd type="none" w="med" len="med"/>
                    </a:lnL>
                    <a:lnR w="12700" cap="flat" cmpd="sng" algn="ctr">
                      <a:solidFill>
                        <a:srgbClr val="E51B2E"/>
                      </a:solidFill>
                      <a:prstDash val="solid"/>
                      <a:round/>
                      <a:headEnd type="none" w="med" len="med"/>
                      <a:tailEnd type="none" w="med" len="med"/>
                    </a:lnR>
                    <a:lnT w="12700" cap="flat" cmpd="sng" algn="ctr">
                      <a:solidFill>
                        <a:srgbClr val="E51B2E"/>
                      </a:solidFill>
                      <a:prstDash val="solid"/>
                      <a:round/>
                      <a:headEnd type="none" w="med" len="med"/>
                      <a:tailEnd type="none" w="med" len="med"/>
                    </a:lnT>
                    <a:lnB w="12700" cap="flat" cmpd="sng" algn="ctr">
                      <a:solidFill>
                        <a:srgbClr val="E51B2E"/>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4" name="Picture 4" descr="http://sr.photos2.fotosearch.com/bthumb/CSP/CSP895/k8954018.jpg"/>
          <p:cNvPicPr>
            <a:picLocks noChangeAspect="1" noChangeArrowheads="1"/>
          </p:cNvPicPr>
          <p:nvPr/>
        </p:nvPicPr>
        <p:blipFill>
          <a:blip r:embed="rId3">
            <a:clrChange>
              <a:clrFrom>
                <a:srgbClr val="FFFFFF"/>
              </a:clrFrom>
              <a:clrTo>
                <a:srgbClr val="FFFFFF">
                  <a:alpha val="0"/>
                </a:srgbClr>
              </a:clrTo>
            </a:clrChange>
            <a:duotone>
              <a:srgbClr val="000000">
                <a:shade val="45000"/>
                <a:satMod val="135000"/>
              </a:srgbClr>
              <a:prstClr val="white"/>
            </a:duotone>
          </a:blip>
          <a:srcRect/>
          <a:stretch>
            <a:fillRect/>
          </a:stretch>
        </p:blipFill>
        <p:spPr bwMode="auto">
          <a:xfrm>
            <a:off x="128291" y="1523931"/>
            <a:ext cx="459905" cy="45720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59799" name="Picture 3"/>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93100" y="2144713"/>
            <a:ext cx="515938"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1"/>
          <p:cNvPicPr>
            <a:picLocks noChangeAspect="1" noChangeArrowheads="1"/>
          </p:cNvPicPr>
          <p:nvPr/>
        </p:nvPicPr>
        <p:blipFill>
          <a:blip r:embed="rId5" cstate="print">
            <a:duotone>
              <a:srgbClr val="000000">
                <a:shade val="45000"/>
                <a:satMod val="135000"/>
              </a:srgbClr>
              <a:prstClr val="white"/>
            </a:duotone>
          </a:blip>
          <a:srcRect t="82713" r="5211" b="2470"/>
          <a:stretch>
            <a:fillRect/>
          </a:stretch>
        </p:blipFill>
        <p:spPr bwMode="auto">
          <a:xfrm>
            <a:off x="5616606" y="1873814"/>
            <a:ext cx="415413" cy="28975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59801" name="Picture 1"/>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13113" y="1801813"/>
            <a:ext cx="427037"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1"/>
          <p:cNvSpPr txBox="1">
            <a:spLocks/>
          </p:cNvSpPr>
          <p:nvPr/>
        </p:nvSpPr>
        <p:spPr bwMode="auto">
          <a:xfrm>
            <a:off x="107950" y="185738"/>
            <a:ext cx="8791575" cy="711200"/>
          </a:xfrm>
          <a:prstGeom prst="rect">
            <a:avLst/>
          </a:prstGeom>
          <a:noFill/>
          <a:ln w="9525">
            <a:noFill/>
            <a:miter lim="800000"/>
            <a:headEnd/>
            <a:tailEnd/>
          </a:ln>
        </p:spPr>
        <p:txBody>
          <a:bodyPr anchor="ctr">
            <a:normAutofit/>
          </a:bodyPr>
          <a:lstStyle/>
          <a:p>
            <a:pPr rtl="1" fontAlgn="auto">
              <a:spcBef>
                <a:spcPct val="20000"/>
              </a:spcBef>
              <a:spcAft>
                <a:spcPts val="0"/>
              </a:spcAft>
              <a:buFont typeface="Arial" charset="0"/>
              <a:buNone/>
              <a:defRPr/>
            </a:pPr>
            <a:r>
              <a:rPr lang="en-US" sz="2400" b="1" cap="small" dirty="0">
                <a:solidFill>
                  <a:schemeClr val="tx2"/>
                </a:solidFill>
                <a:latin typeface="Century Gothic" charset="0"/>
                <a:ea typeface="Century Gothic" charset="0"/>
                <a:cs typeface="Simplified Arabic"/>
              </a:rPr>
              <a:t>Summary of investment law provisions</a:t>
            </a:r>
            <a:endParaRPr lang="ar-TN" sz="2400" b="1" cap="small" dirty="0">
              <a:solidFill>
                <a:schemeClr val="tx2"/>
              </a:solidFill>
              <a:latin typeface="Century Gothic" charset="0"/>
              <a:ea typeface="Century Gothic" charset="0"/>
              <a:cs typeface="Simplified Arabic"/>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e 2"/>
          <p:cNvGraphicFramePr/>
          <p:nvPr/>
        </p:nvGraphicFramePr>
        <p:xfrm>
          <a:off x="325724" y="1268760"/>
          <a:ext cx="8424936" cy="51845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1795" name="Titre 1"/>
          <p:cNvSpPr>
            <a:spLocks noGrp="1"/>
          </p:cNvSpPr>
          <p:nvPr>
            <p:ph type="title"/>
          </p:nvPr>
        </p:nvSpPr>
        <p:spPr>
          <a:xfrm>
            <a:off x="1042988" y="0"/>
            <a:ext cx="4176712" cy="1052513"/>
          </a:xfrm>
        </p:spPr>
        <p:txBody>
          <a:bodyPr/>
          <a:lstStyle/>
          <a:p>
            <a:pPr algn="ctr" eaLnBrk="1" hangingPunct="1"/>
            <a:r>
              <a:rPr lang="fr-FR" altLang="fr-FR" b="1" smtClean="0">
                <a:solidFill>
                  <a:schemeClr val="tx2"/>
                </a:solidFill>
              </a:rPr>
              <a:t>OVERVIEW</a:t>
            </a:r>
          </a:p>
        </p:txBody>
      </p:sp>
      <p:sp>
        <p:nvSpPr>
          <p:cNvPr id="2" name="ZoneTexte 1"/>
          <p:cNvSpPr txBox="1"/>
          <p:nvPr/>
        </p:nvSpPr>
        <p:spPr>
          <a:xfrm>
            <a:off x="3449638" y="2001838"/>
            <a:ext cx="360362" cy="769937"/>
          </a:xfrm>
          <a:prstGeom prst="rect">
            <a:avLst/>
          </a:prstGeom>
          <a:noFill/>
        </p:spPr>
        <p:txBody>
          <a:bodyPr>
            <a:spAutoFit/>
          </a:bodyPr>
          <a:lstStyle/>
          <a:p>
            <a:pPr algn="ctr" eaLnBrk="1" hangingPunct="1">
              <a:defRPr/>
            </a:pPr>
            <a:r>
              <a:rPr lang="fr-FR" sz="4400" b="1" dirty="0">
                <a:solidFill>
                  <a:schemeClr val="tx2">
                    <a:lumMod val="85000"/>
                  </a:schemeClr>
                </a:solidFill>
                <a:effectLst>
                  <a:outerShdw blurRad="38100" dist="38100" dir="2700000" algn="tl">
                    <a:srgbClr val="000000">
                      <a:alpha val="43137"/>
                    </a:srgbClr>
                  </a:outerShdw>
                </a:effectLst>
                <a:latin typeface="Century Gothic" pitchFamily="34" charset="0"/>
              </a:rPr>
              <a:t>1</a:t>
            </a:r>
          </a:p>
        </p:txBody>
      </p:sp>
      <p:sp>
        <p:nvSpPr>
          <p:cNvPr id="13" name="ZoneTexte 12"/>
          <p:cNvSpPr txBox="1"/>
          <p:nvPr/>
        </p:nvSpPr>
        <p:spPr>
          <a:xfrm>
            <a:off x="3500438" y="3405188"/>
            <a:ext cx="358775" cy="769937"/>
          </a:xfrm>
          <a:prstGeom prst="rect">
            <a:avLst/>
          </a:prstGeom>
          <a:noFill/>
        </p:spPr>
        <p:txBody>
          <a:bodyPr>
            <a:spAutoFit/>
          </a:bodyPr>
          <a:lstStyle/>
          <a:p>
            <a:pPr algn="ctr" eaLnBrk="1" hangingPunct="1">
              <a:defRPr/>
            </a:pPr>
            <a:r>
              <a:rPr lang="fr-FR" sz="4400" b="1" dirty="0">
                <a:solidFill>
                  <a:srgbClr val="002060"/>
                </a:solidFill>
                <a:effectLst>
                  <a:outerShdw blurRad="38100" dist="38100" dir="2700000" algn="tl">
                    <a:srgbClr val="000000">
                      <a:alpha val="43137"/>
                    </a:srgbClr>
                  </a:outerShdw>
                </a:effectLst>
                <a:latin typeface="Century Gothic" pitchFamily="34" charset="0"/>
              </a:rPr>
              <a:t>2</a:t>
            </a:r>
          </a:p>
        </p:txBody>
      </p:sp>
      <p:sp>
        <p:nvSpPr>
          <p:cNvPr id="17" name="ZoneTexte 16"/>
          <p:cNvSpPr txBox="1"/>
          <p:nvPr/>
        </p:nvSpPr>
        <p:spPr>
          <a:xfrm>
            <a:off x="3533775" y="4887913"/>
            <a:ext cx="360363" cy="768350"/>
          </a:xfrm>
          <a:prstGeom prst="rect">
            <a:avLst/>
          </a:prstGeom>
          <a:noFill/>
        </p:spPr>
        <p:txBody>
          <a:bodyPr>
            <a:spAutoFit/>
          </a:bodyPr>
          <a:lstStyle/>
          <a:p>
            <a:pPr algn="ctr" eaLnBrk="1" hangingPunct="1">
              <a:defRPr/>
            </a:pPr>
            <a:r>
              <a:rPr lang="fr-FR" sz="4400" b="1" dirty="0">
                <a:solidFill>
                  <a:srgbClr val="FFFFFF">
                    <a:lumMod val="75000"/>
                  </a:srgbClr>
                </a:solidFill>
                <a:effectLst>
                  <a:outerShdw blurRad="38100" dist="38100" dir="2700000" algn="tl">
                    <a:srgbClr val="000000">
                      <a:alpha val="43137"/>
                    </a:srgbClr>
                  </a:outerShdw>
                </a:effectLst>
                <a:latin typeface="Century Gothic" pitchFamily="34" charset="0"/>
              </a:rPr>
              <a:t>3</a:t>
            </a:r>
          </a:p>
        </p:txBody>
      </p:sp>
      <p:sp>
        <p:nvSpPr>
          <p:cNvPr id="10" name="ZoneTexte 4"/>
          <p:cNvSpPr txBox="1">
            <a:spLocks noChangeArrowheads="1"/>
          </p:cNvSpPr>
          <p:nvPr/>
        </p:nvSpPr>
        <p:spPr bwMode="auto">
          <a:xfrm>
            <a:off x="3906838" y="2185988"/>
            <a:ext cx="4741862" cy="338137"/>
          </a:xfrm>
          <a:prstGeom prst="rect">
            <a:avLst/>
          </a:prstGeom>
          <a:solidFill>
            <a:schemeClr val="tx2">
              <a:lumMod val="85000"/>
            </a:schemeClr>
          </a:solidFill>
          <a:ln>
            <a:noFill/>
          </a:ln>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fr-FR" sz="1600" b="1" smtClean="0">
                <a:solidFill>
                  <a:srgbClr val="F2F2F2"/>
                </a:solidFill>
                <a:latin typeface="Century Gothic" pitchFamily="34" charset="0"/>
              </a:rPr>
              <a:t>INVESTMENT LAW</a:t>
            </a:r>
          </a:p>
        </p:txBody>
      </p:sp>
      <p:sp>
        <p:nvSpPr>
          <p:cNvPr id="11" name="ZoneTexte 10"/>
          <p:cNvSpPr txBox="1"/>
          <p:nvPr/>
        </p:nvSpPr>
        <p:spPr>
          <a:xfrm>
            <a:off x="4092575" y="4979988"/>
            <a:ext cx="4638675" cy="584200"/>
          </a:xfrm>
          <a:prstGeom prst="rect">
            <a:avLst/>
          </a:prstGeom>
          <a:solidFill>
            <a:schemeClr val="tx2">
              <a:lumMod val="85000"/>
            </a:schemeClr>
          </a:solidFill>
        </p:spPr>
        <p:txBody>
          <a:bodyPr>
            <a:spAutoFit/>
          </a:bodyPr>
          <a:lstStyle/>
          <a:p>
            <a:pPr eaLnBrk="1" hangingPunct="1">
              <a:defRPr/>
            </a:pPr>
            <a:r>
              <a:rPr lang="fr-FR" sz="1600" b="1" dirty="0">
                <a:solidFill>
                  <a:srgbClr val="FFFFFF"/>
                </a:solidFill>
                <a:latin typeface="Century Gothic" pitchFamily="34" charset="0"/>
              </a:rPr>
              <a:t>PROMISING INVESTMENT OPPORTUNITIES PREVAILING IN TUNISIA</a:t>
            </a:r>
          </a:p>
        </p:txBody>
      </p:sp>
      <p:sp>
        <p:nvSpPr>
          <p:cNvPr id="161801" name="ZoneTexte 11"/>
          <p:cNvSpPr txBox="1">
            <a:spLocks noChangeArrowheads="1"/>
          </p:cNvSpPr>
          <p:nvPr/>
        </p:nvSpPr>
        <p:spPr bwMode="auto">
          <a:xfrm>
            <a:off x="4092575" y="3659188"/>
            <a:ext cx="4572000" cy="3397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fr-FR" altLang="fr-FR" sz="1600" b="1" dirty="0">
                <a:solidFill>
                  <a:srgbClr val="FFFFFF"/>
                </a:solidFill>
                <a:latin typeface="Century Gothic" panose="020B0502020202020204" pitchFamily="34" charset="0"/>
              </a:rPr>
              <a:t>COOPERATION BETWEEN TUNISIA- </a:t>
            </a:r>
            <a:r>
              <a:rPr lang="fr-FR" altLang="fr-FR" sz="1600" b="1" dirty="0" smtClean="0">
                <a:solidFill>
                  <a:srgbClr val="FFFFFF"/>
                </a:solidFill>
                <a:latin typeface="Century Gothic" panose="020B0502020202020204" pitchFamily="34" charset="0"/>
              </a:rPr>
              <a:t>TURKEY </a:t>
            </a:r>
            <a:endParaRPr lang="fr-FR" altLang="fr-FR" sz="1600" b="1" dirty="0">
              <a:solidFill>
                <a:srgbClr val="FFFFFF"/>
              </a:solidFill>
              <a:latin typeface="Century Gothic" panose="020B0502020202020204"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26"/>
          <p:cNvSpPr txBox="1">
            <a:spLocks noChangeArrowheads="1"/>
          </p:cNvSpPr>
          <p:nvPr/>
        </p:nvSpPr>
        <p:spPr bwMode="auto">
          <a:xfrm>
            <a:off x="379413" y="2097088"/>
            <a:ext cx="3040062" cy="790575"/>
          </a:xfrm>
          <a:prstGeom prst="rect">
            <a:avLst/>
          </a:prstGeom>
          <a:solidFill>
            <a:srgbClr val="002060"/>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23988" tIns="35999" rIns="35999" bIns="35999" anchor="ctr"/>
          <a:lstStyle/>
          <a:p>
            <a:pPr>
              <a:lnSpc>
                <a:spcPct val="120000"/>
              </a:lnSpc>
              <a:defRPr/>
            </a:pPr>
            <a:r>
              <a:rPr lang="fr-FR" sz="2400" b="1" dirty="0">
                <a:solidFill>
                  <a:srgbClr val="FFFFFF"/>
                </a:solidFill>
              </a:rPr>
              <a:t>   </a:t>
            </a:r>
            <a:r>
              <a:rPr lang="fr-FR" sz="2400" b="1" dirty="0" smtClean="0">
                <a:solidFill>
                  <a:srgbClr val="FFFFFF"/>
                </a:solidFill>
              </a:rPr>
              <a:t>26 </a:t>
            </a:r>
            <a:r>
              <a:rPr lang="fr-FR" sz="2400" b="1" dirty="0" err="1">
                <a:solidFill>
                  <a:srgbClr val="FFFFFF"/>
                </a:solidFill>
              </a:rPr>
              <a:t>Companies</a:t>
            </a:r>
            <a:endParaRPr lang="fr-FR" sz="2400" b="1" dirty="0">
              <a:solidFill>
                <a:srgbClr val="FFFFFF"/>
              </a:solidFill>
            </a:endParaRPr>
          </a:p>
        </p:txBody>
      </p:sp>
      <p:sp>
        <p:nvSpPr>
          <p:cNvPr id="5" name="Text Box 526"/>
          <p:cNvSpPr txBox="1">
            <a:spLocks noChangeArrowheads="1"/>
          </p:cNvSpPr>
          <p:nvPr/>
        </p:nvSpPr>
        <p:spPr bwMode="auto">
          <a:xfrm>
            <a:off x="379413" y="2746375"/>
            <a:ext cx="3040062" cy="788988"/>
          </a:xfrm>
          <a:prstGeom prst="rect">
            <a:avLst/>
          </a:prstGeom>
          <a:solidFill>
            <a:srgbClr val="002060"/>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23988" tIns="35999" rIns="35999" bIns="35999" anchor="ctr"/>
          <a:lstStyle/>
          <a:p>
            <a:pPr>
              <a:lnSpc>
                <a:spcPct val="120000"/>
              </a:lnSpc>
              <a:defRPr/>
            </a:pPr>
            <a:r>
              <a:rPr lang="fr-FR" sz="2400" b="1" dirty="0">
                <a:solidFill>
                  <a:srgbClr val="FFFFFF"/>
                </a:solidFill>
              </a:rPr>
              <a:t>     </a:t>
            </a:r>
            <a:r>
              <a:rPr lang="fr-FR" sz="2400" b="1" dirty="0" smtClean="0">
                <a:solidFill>
                  <a:srgbClr val="FFFFFF"/>
                </a:solidFill>
              </a:rPr>
              <a:t>393 </a:t>
            </a:r>
            <a:r>
              <a:rPr lang="fr-FR" sz="2400" b="1" dirty="0">
                <a:solidFill>
                  <a:srgbClr val="FFFFFF"/>
                </a:solidFill>
              </a:rPr>
              <a:t>MTND </a:t>
            </a:r>
          </a:p>
        </p:txBody>
      </p:sp>
      <p:sp>
        <p:nvSpPr>
          <p:cNvPr id="6" name="Text Box 526"/>
          <p:cNvSpPr txBox="1">
            <a:spLocks noChangeArrowheads="1"/>
          </p:cNvSpPr>
          <p:nvPr/>
        </p:nvSpPr>
        <p:spPr bwMode="auto">
          <a:xfrm>
            <a:off x="379413" y="3394075"/>
            <a:ext cx="3040062" cy="790575"/>
          </a:xfrm>
          <a:prstGeom prst="rect">
            <a:avLst/>
          </a:prstGeom>
          <a:solidFill>
            <a:srgbClr val="002060"/>
          </a:solidFill>
          <a:ln>
            <a:solidFill>
              <a:srgbClr val="FFFFFF"/>
            </a:solidFill>
            <a:headEnd/>
            <a:tailEnd/>
          </a:ln>
        </p:spPr>
        <p:style>
          <a:lnRef idx="1">
            <a:schemeClr val="accent4"/>
          </a:lnRef>
          <a:fillRef idx="3">
            <a:schemeClr val="accent4"/>
          </a:fillRef>
          <a:effectRef idx="2">
            <a:schemeClr val="accent4"/>
          </a:effectRef>
          <a:fontRef idx="minor">
            <a:schemeClr val="lt1"/>
          </a:fontRef>
        </p:style>
        <p:txBody>
          <a:bodyPr lIns="323988" tIns="35999" rIns="35999" bIns="35999" anchor="ctr"/>
          <a:lstStyle/>
          <a:p>
            <a:pPr>
              <a:lnSpc>
                <a:spcPct val="120000"/>
              </a:lnSpc>
              <a:defRPr/>
            </a:pPr>
            <a:r>
              <a:rPr lang="fr-FR" sz="2400" b="1" dirty="0">
                <a:solidFill>
                  <a:srgbClr val="FFFFFF"/>
                </a:solidFill>
              </a:rPr>
              <a:t>   </a:t>
            </a:r>
            <a:r>
              <a:rPr lang="fr-FR" sz="2400" b="1" dirty="0" smtClean="0">
                <a:solidFill>
                  <a:srgbClr val="FFFFFF"/>
                </a:solidFill>
              </a:rPr>
              <a:t>1197 </a:t>
            </a:r>
            <a:r>
              <a:rPr lang="fr-FR" sz="2400" b="1" dirty="0">
                <a:solidFill>
                  <a:srgbClr val="FFFFFF"/>
                </a:solidFill>
              </a:rPr>
              <a:t>Jobs</a:t>
            </a:r>
          </a:p>
        </p:txBody>
      </p:sp>
      <p:sp>
        <p:nvSpPr>
          <p:cNvPr id="163845" name="AutoShape 8" descr="data:image/jpeg;base64,/9j/4AAQSkZJRgABAQAAAQABAAD/2wCEAAkGBhQSEBUUEBQWFRQVFhYYFRgWFBUVFxcZFRgWFhQYFBoYJyYfFxkjHhcVIjIhJCopLiwsFR8xNTAqNSYsLCkBCQoKDgwOGQ8PGjUlHyQtNSwyLzIqLiosLTIsLCwsLiwsKTQsKSwsKiwsKTUsNCwsKSksLCwsLCwsLCksLCwpLP/AABEIAGQA8AMBIgACEQEDEQH/xAAcAAEAAQUBAQAAAAAAAAAAAAAABQEDBAYHAgj/xABAEAACAQMCAwYDBAgEBgMAAAABAgMABBESIQUxQQYTIlFhcQcygRRCkcEjUmKCkqGx0RUzY7JUcqKj4fAXNFP/xAAZAQEAAwEBAAAAAAAAAAAAAAAAAQIDBAX/xAAlEQADAAIBBAICAwEAAAAAAAAAAQIDERIEITFBE1FhkUJxgTL/2gAMAwEAAhEDEQA/AO40pSgFUq3c3GhS2GbHRRqY+wqCh7UiZmhjzBOOS3EZ39tLD/3oaA2Gq5rVrTjNxL3sB0xXcW4GnVHKvQjO4HLkeo9h6g7Xn7Klw8fh193OATqjbOkkA/MvLbY79aA2elYi8STvu5Jw+nWAfvLyJU9cHmKys0BWlKUApSlAKUpQClKUApSlAKUpQClKUApSlAKUpQClKUApSlAUqN4vx2G3GJZFRmB05BY++kbkVITShVLMcKASSeQA3JNaNN2rs3lZxayTk4Bcxo+w2AUNyH4c6Avx8N78mSy4hI0vPDsCp90GNI+hFUmJu/0F0vcX0fihcbBsb5Q9R5j6jyrCkuOGytnElpLzDBWjIPntkVITI7xgTsLqEHMdzBjvoiOTMq5zj0+oPSQeTeFmt7pxpmhl+z3Q9H8OfbLAj0Y1j31vi2vYh9+9VV95e6b+rGrsymQNqILSx6Gdfklx/wDXnXyIfCMOhcembxmy+sLqzL34X9ZzFHHCv1ZifaMnpQGUzBuJNITiO0gwzHlqfJI+i/09audmuLH7Mjy5CyzusOeYV2YxA+nQemKinjTutMsmLfWXnkGdV1KTkpEBuUB2yOeAByrKKl2S5ux9ntYN4YjsxIGFZx0PkvP+eQNupWDwW+M0CSMCuvJAOx06joz+7is6oApSlAKUpQClKUApSlAKUpQClKUApSlAKUpQClKUApSlARvaK5hS3c3BxGcAgc23yFA65xj2zWvW3ay4lAFnZHuxspY6Vx6YwB9Cane0VtEUSS4I7qF+8YHcN4WVRjruw261AR9pLu7JWwiEcQOO9k/LoPYZxQGcJuIuMPb22PJnY/maj5I1RsulrC/nDdtC34Kpz7YrzxDh8MOP8QupZ5DyiViAT0ARd/TJxV1AYlDd2tojbRxxqr3cpPTJ+T+eOpHOpBRvPffJycDJ5FsgLqP7QXPmTtXhGznI2O2Nuu2OY2Izt6nYgkG6IvFpOAdYVsEthyNRUud5HVNTMx5YAAAJrzGdWkgbuF2zjJkjWRVB5DUCwGdsx4IIY0BUvobUWEbgYDtbzzuB5JlURB6KKsGW3Lh3S7vZRy1xPpB9FICKKvLIFTWGlSPJBltyRoI5rcW5yqMOpUY9BWVBJcyDNvxCGRf2ol1D3wf6gUBMcCeZg73C92WYaI850IAANXqSCalKjOA2pVCzTd+7tlnwAu3hCoBsFGD9c1J1AFKUoBSlKAUpSgFKGoKy4nNJNOi90FhYLqIfckaiMZ2wMdetATtKg+I8Rmjs5JGCrKpYKACwbxaUwCc77VKCcRxgzMowBqYkKM4GefLJoDIpVqK6Rl1qysu/iBBG3Pf0q3HxKJlLLIhVd2IZcAeZPQetAZNKjLDj0UkbSa1WMOyhiwGQNsnPLO+M9MHrWetwp1YYeHZtx4TjOG8tiDv50BcpWPbX8cme7dXxjOlgcZ5Hbp60/wAQjwx7xML8x1Lhc8tR6fWgMilYN/f6Yi0bxaiMxl3ARuWNxzG/Tzq/LdLGoMjKvIZJwM+Qzz9qAv0rHa/jCay66DybUMHOwwepr3b3SyDVGwYeakEbc+XWgIvtPwg3MSR76e9jL45lQfFj8ahOL9oG7wWXDVGseEsB4Y8cwvQY6k8vU1uRFab2cgWxtJppx+lDuH8zpOFUE/rHfPXVmgPLW8PDUDt+nvJPlzuzMdvD1C52zzPL2SrJAFeQiTiFz4Ix0hB56R0Cg7nqfrXnsnZmVn4hdnfxd3nkqrnLD0AyB7E9audm5vtE09/LkIgKRA/dRRlj74/mzVIPM0YjMyISVtLZ8t1aacEsx9cA/wARq7JagtDGTpW5tkVWH3ZYAHjYeoDbe1R8Dk8Ju52+ad3Y+2pVA9hg1sF3wo3NjD3Z0yokUkTeTqox9DuPrQEbamWRmeArHexeG4iO0c2nYN9ejDzx5UgsYbmQCbh7xyZ8Zxpj9TqBAb6DJrNHB2utMk8cltcIMd5G6eL255X3G2etT0Sd2niZm0gks5yTjmTj8hQFyGFUUKgCqowANgAOQFe61Zvibw8c7gfwSf2rZoZQyhl3DAEexGRU1FT5RWbmvDPdKVjcQv0gjaSU6UQZY4Jx05DeqljJzTNasfidw7/iR/BJ/ap3hXFormISwOHjbOGGRyODzq9RU92iiuaekzMpVDUHxXtvZ2zFZrhAw5quXYe4XOD6GqzLrskS6U+SbklCgljgDck9AOdafwCCKS1aWaXQZpHkb9LpGC+wZc4+UAb9Kr/8pcNfwtLsf14nx/MVIXfaCxjhjmkaMRS50N3RIbHsu31q7x2vKIWSH4Z441xJJBagnSksokOrAykQ1j8T3eB6/SrN5eF78hmRFhiV070kANJzk07aio25jGedeD8RuGHTmdPD8v6N/Dtjw+Hbbyq4nbjhkzrmeEsPlLrgj2Zxt+NPitfxf6I+WPtFq9VES2jLEwzTu0zuNPeHdwGBxhWbpywuKkOIXcKRXM8WC4j0swyVJUHQoPI4LDOKmGRJU3CujYO4DKeoPUGsbiV7b28WZ2jjixjDaQvsB19gKprfYvtEBf26DhiQppJfuoVOARrYgMynqB4tx5GsjjXD0TuIVGmOa4HfHPzkISA566ioz549awpfilw0EL3hYKdiIXIGNhjbapfhvamzvcpFLHITzRhuf3W51d47S20VWSH2TPETd5xAsn+XDD3bsOWtm1aM/sjB9M1CPGpspZ2xm6lIiDYCqJGESNg7A6BnPT0ra7+9htYS8mI4lwNl2Go4xpUflUPadueHzukMcqOzMAi923zdMZGBiqqKa2kS7lPTZXjXdYs4BjQXVhkb6IFDADrknQMDnmvS3if4hKZ2Ve5jTug5AGHyZXGeuyjPlXrinbWxgm0XEqrKnmjEjIBODjyxyrO4bxC2vEE0JSVVJAbTkqRzA1DIPKjikttBXLetkfeWkbRwxWzd066p4NQOMqd9YbfB7w+o59Kkezt0JbdZAgQyFmYA5BbOGIPUEjNY3aPj1nAFW9aMaslVddecczjBx71m8F4tFcRCS2OqPkDpKjb9XIG3Tbypxet67Dkt633JCtY+INg8lme7BOhg7AcyoBB/DIP0rZ6oaqWNL7aXoh4dHHEdpAiAj9RV1E/XA/GrnF4/svBtA2JRFP8AzSEF/wCpq/267PNPbr3C5aIkhBtkMMNp9eRrE7c3Ym4crrn/ADE1AggqcEFWB3BBI51IPN7Bp4EB/pof4nDfnWx9l5tdnAf9NR/CNP5VESL33BcL/wAOP+2AT/tNPhxfa7PRneJiPo3iX+p/CgNrpSrdxMERmbYKCT7AZNQD5+7Wt9q4zIg+/OkI9gVjP89VfQarjYV8/wDw9iNxxeJm565Jm98M39TX0Dmu7rO3GPpHF0nflX2yta9227VLYWrSHBkbwxL+s3mf2RzP/mpq7u0jRnkYKiAsxPIAbkmuBcf4lccYvWMEbOFB7qMY8MYI8TZ2BJwT7gdKy6fD8lbfheTTqMvCdLyzzadlZbixur+QnwtqX/UYuDM3sMn658q3r4I8T1W80B5xuHH/ACyDfH7yn+KoMQ8cFt9mFviHu+70iOD5SMHfOc+vnvUf8I+Jd1xIIdhMjIc+Y8a/Xwmu/LvJiruvxo4seseSez/02X4sduXib7JbMUOnMzqcNg8kU9NtyR5gedV7G/CKMxLLf6mdwCIgSoUHca8blvTkOVaT2kkH+Mymf5RdLrz+oHXP00ivoVWyNuVc+WnhxzMe+7ZviSy5Kq/Ro/aD4U2skDC1iWOY40MXkwNxkkb52ztWZ25K2vB5UTYLEkKfUqn9M1t1c6+Nl7ps4oxzkmBPtGpP9StYYqrJcy3vubZZnHFUl6NR+FnZKG9knNypZI1QAamXxOW329FP41I/ErsPZWluJICUlLKBGXLawfmIDbjHPPLp1r12K7JG64LPpysrzF4iDjxRKFAJ8j4x+9Wp9juFwXF6sN6ZFDEqMEKTIDsjkjIzgjbBzivQ23kquXafRw6SiZ4937N5+F3HWt+GXMs5JhgfMY9dILIvuxX6sa1CzhueN3+JGxnLMeaQxg8kH1A9TzronxJ4UlvwZorZNEavFsvlrGSfMk8yahPgayZuhtr/AEXvp8fL0yR+IrKbSi80rvv9GtQ+UYm+xtdp8K+HogUw6z1Z3YsfXYgD6CuafEXsmvDrmJrZmVJAWTxHUjIRnS3PHiUjrzrvGa4d8XePrcXixxkMsClSRuNbEFwPPGFHuDWXSXkrJ3e0adVETj7LTOl9me0pl4Ut1L8yxOX6ZMQbJ+un+dcp+FVoZeKRsd9CvIffGAfxat24jA1l2b0P4ZGjCkdQ0zgkH1AOPpUT8DrHMlzKfuqkY/eJZv8AYv41eNTjyUvvRWt1kxy/7N67edmRfWbIo/Sp44j+0OnswyPr6VyTsF22PDnmWRWZHU+DkRKmy5zyzuD7DyxXWu2vbOOwhyfFK2e6jzzP6zeSjz+grhXErO4kT7bMngnlYa8BQz/McAchz3/ZNW6SeUOb/wCWV6quNqo8o2vsx2bn4zdNdXhPc6vEdxqxyii8lHU9Peu021ssaBEUKqgBQBgADkAK1f4ZcdS4sIwoVWhAjdVGACBswHkw3981ttcfUXVXxfZL0dXTxKnku+/YzTNKVznQKx7+wSaNo5BlWGCP7eRrIpQEHwHgUlqDF3gkgJJAYEOueY2yGB+nOtetODXPD7pngjaa3fYhSNWnORkH7y559d632lAWbW41qG0svo4wfwrB7T28klnOkA1SPGyqCQMlhpO55bE1KUqU9PZDW1o4bwnsBxe1k7y3RUfBXIkiOxxkb58qmfsHaH/9P+uD+1dZpXVXV1T25X6OaemU+G/2aB8Q+E8QuYo7e2TVGFUzOZEUyMOQxtsCMnzJHlUj8Ouxv2G3Pegd/JvIRvpA+VAeoH8yfatuxTFZPNXDh6NFiXPn7BrjU3w7vouJGe3iUxrcd4h7xFyuvVjBO2xIrstMVGLLWPevZOTEsmt+jn/b74Z/bH7+2ZUmIw6t8smNgcj5W6eR25c61ywsuPWqiKIMyLsoJikAHkpY5ArseKYrSeppTxaTX5KV08t8k9P8Gh9jbTirXPecRciJUbSgMeC5wBlU6AZNYnxS7KXd7LD9mjDJGjZJdV8TsMjB9FWuj0xVVmavmkizwpxwbILsTwdrWwhhkADqpLgHPiZiTuOfOtE7ffDWeW87+xUESeJxrCFZAd2GfPY7dQa6xTFRGaot2vYrDNSpfohOG2klxYiLiMYDshSUBgQ2NtQK8s7H0Nc2uvhnf2U/e8Ok1gZ0kMEkAP3XVvC3545CuyUxUxnqG9eH69C8M2lvyvfs5Bc23aC4Xu31Ip2OGiiyPVl3/Cpfsb8JVt3Wa8ZZHUgpGudCkbgsT85HljA9a6RTFWrqaa4ykl+Cs9PKe33/ALNN+J3A7i7tUitUDHvQz5YLsqnHPnuR+FWOwnAbjh/D5QYQ9w0jMI9a4OyqmW5AbZreaYqnzPhw9F/iXPn7ORWXw5vby977imAhOWw4JYDlGgHyL+Xqa6J2g7Nx3Nk9sAFXRiPAwEZf8sgdACB9KmcUpeaqaf0ROGZTX2cm+H/ZPiNjdhniHcuNMoEqHb7rAZ3Kn+RNdZBpilRlyvJXJlseNY1xRWqUpWRoKVWlAUqtKUBSlVpQFKUpQFapSlAKUpQClVpQFKUpQClKUBWqUpQCq0pQClKUApSlAKUpQH//2Q=="/>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163846" name="AutoShape 10" descr="data:image/jpeg;base64,/9j/4AAQSkZJRgABAQAAAQABAAD/2wCEAAkGBhINDw8UDRQRExQSDRkQFRESERoUFBEWGRIhFhMUGR4dJzIjIxsjJRoeJC8gKDMpOC04FSA9NTw2NS03LjUBCQoKDQwOGQ8NGDUiHiQwKjIrLTUsNjIuNTUwMDIxNTUyNTUsMSwpNTU1NTU1MzQ0LDQsMC01MC8pMCwsKTU2Kf/AABEIAEgAYAMBIgACEQEDEQH/xAAbAAEBAAIDAQAAAAAAAAAAAAAAAwEGBAUHAv/EADUQAAIBAwAHBgUDBAMAAAAAAAECAwAEEQUSExQhUpIiMTNRcrIyQUJhcQaBoSOCkcEHQ2L/xAAXAQEBAQEAAAAAAAAAAAAAAAAAAwIB/8QAIBEBAAICAQQDAAAAAAAAAAAAAAECAxFBEhNh8CEiMf/aAAwDAQACEQMRAD8A9ntrZCiZVfgH0jyqm6JyJ0ilp4cfoHtq1BHdE5E6RTdE5E6RVqUEd0TkTpFN0TkTpFWpQR3ROROkU3ROROkValBHdE5E6RTdE5E6RVqUEd0TkTpFTubZAj4VfgP0jyrlVG78OT0H20C08OP0D21K80nHDgOe0RkRrxdgO/VXvOPtX3DIEhVmwAsQYk8AAFya1CeZpe1Jn+oc4IlRW45XVEhOcfIhVPlig2GH9SRuQMOMnAPAg5IAPA9x11IP/r7Guxt7lZVDRkEEAgj7jI/g/wA1puP5zx/Pf+/Guy0BMyy446rg/IgZHEfb/fBQAAM0Gy0pSgUpSgUpSgVG78OT0H21ao3fhyeg+2g+I4y0IAOCYgAcZwSvA4rStXU1+DA4BZe+QgvqRbVjxeaUjsqeyo4kHHHeLTw09A9tdff6FDyxyJjIukmkB+vUjKKfyMg/20HQxxFg4XiVwTqgnhtGjYj56oZfucca7GwSOzIku2jiZzs02hVSST3Z8/wSD5Durh6D17WS226sge2NsxI4CVJi65PdhgxINQ/5Fm/q6LV1kMQvxcSlInkwsQyuQoPeWH+Kpjr1W0xe3TG26O4UEngAMk+WO+uNYaWguQxt5YpQpw2zcPqk9wOO41rWn/1FJdwxQ6LEoluiyCZ4ZI1t414SStrDIPyXz+Vai+hL3R7X1vbooa40SuzNsH1C0Tardpv+1lLn75FUph3H2nUsWy6n4jcPQdJ6dtpda3S4t9q7BNntlD/ENYAc2M8K4EemYGkVYrq0VmKoVW4TaYyxIA8yzDhiofpm+sNjFFBA6tBDtSj2joyMi9oliuNfv+ZzmtNg0DK9lY70jCC8u3e6K2+tcRM8paNskayocYJxw/etVw1mZidw5OS0fj0DSWkRbam93UMDEPjXnC5JICsqkdwGtwOeOK+p78qgc3UKpI2rE5lXVkPa1QpxjJ7I/Ymtb0ZcRWN5pJ9JwzPPJcnYsLZ5xJb4xEkZAI/I4fLNdbaaFmSPR8U0TRpcabfSDQhSVtoUXXVGxwXzxTs15n3wd2eIbzFe5abVniIiLGXVmUGIgAKZOHDgp7/vXPtJ9paBtdZNaEnaI2sr8D2ga8309btdXQvjbzCyeaO2njCust3GrEid4wM7MHHDvIWvUZlAhYKAAIiAAMADV4VPJSKxGm6Xm0y+rTw4/QPbVqjaeHH6B7atUVGMUxWaUGMUxWaUGMUxWaUGMUxWaUGMVK78N/QfbVqjd+HJ6D7aCdrcoETLL8A+oeVV3tOdOoUpQN7TnTqFN7TnTqFKUDe0506hTe0506hSlA3tOdOoU3tOdOoUpQN7TnTqFN7TnTqFKUDe0506hUrq5Qo+GX4D9Q8qUoP/2Q=="/>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163847" name="AutoShape 12" descr="data:image/jpeg;base64,/9j/4AAQSkZJRgABAQAAAQABAAD/2wCEAAkGBhQPERETERIWExIWERMYFhIYGRwbHhcYHxgaGRYYHhsaHigeFxotIBYYKzMiLycpMS8sHCQ0NzI2NSY3LCkBCQoKDgwNFw8PGjAkHSU1NTU1KzQ1MCksMjUyNS00NSwwKjU1LywuKTI1NTU0MTUsMzYtLDUwKTUpKSw1LCkpNf/AABEIAHMAcwMBIgACEQEDEQH/xAAbAAEAAgMBAQAAAAAAAAAAAAAABAUBAgYDB//EADQQAAEEAQMDAgQEBAcAAAAAAAEAAgMRBAUSIRMxQQZRIjJhcQdCUpEUgqHwFSNigYOxwf/EABgBAQEBAQEAAAAAAAAAAAAAAAABAgQD/8QAIxEBAQABAwMEAwAAAAAAAAAAAAECAxEhEkFREzFhoSNC8P/aAAwDAQACEQMRAD8A+4oiICIiAiIgIiICIiAiIgIiICIiAiKFmasyIhpsvde1oHzn9IcaaXfS7QTUVXj+o4nkfMAenRI77nFg+oIeNpB7GvdWMM7XgOabB8/0P/SDdERAREQEREBERAREQEREFRr2p9MCNjiJHC/hifKQ3te1nbnyT7rmmRt5aA0bvmYwPjDvIJhk+KKQEWJGbqPfhWmtPc7IcwOlkdtaRDE7pNa39csvcWboX2HZQGS2OHBzSSLD5HtJHcB8rqkqjZDKFcuCo3a7m+53bvazvjk8dgXxkn23Gl66bmGBzTZ2nazn81bjTR+eVz5CTVho4JsFeAZ559q/vlY3CwLALwAP8zpl4PAAcIi5zfo15Qdui1jbQA44AHC2UBERARQI9WDnvYG/I4tcdzfDQ4mruuQPutsfVWOawuIY5zA7aT2BBdyew4B/Y+yCaihO1iIV8XcPN0eA0W4njjuP3W7NTjdtp4O6qrzdgfvRr3o0glIoR1ePaS14dQaav3cWt58WRS3dqUYJG8WDRHJ5uqFdzfHCCUiw14IBHYiwsIOf9T4wHxyWMYMe+cN7yloaIoz/AKTZ480qmR5abmA3iAzTMHaKEcxYzR4BIG732nxVdjm4bZmOjeLa4UR/flcr6h0yRkepPouEohcHDk7G0HtrxVE/YqjfFw3yCVtbpIxjlzSa374yZRf5Sd7iD4ICs8TBOM180hc4gFxDLG7jlzowdpk9yAL7qPp2a0ahKAQW5GPDJGfDtttNe/BC9/W+d0NPy3+RA8D7uG0f1crjOrKRnK7S1L0HX4s6LrQOLo9xbZaW8jvwVvrOsR4cTpptwjbW4gE1fFkDwua/DXOx4sDEh68XVc0kx9Ru7c5xdW27vnsqX1NmzavlHHxI2zY2LI10wc/YyWS+GFwu2ijx55+i95oy6ln6x4+r+OXvXdaB6jgz43SY7i5rXlpsEEGgex+hCrM38RcOJ7o+o6VzfmETHSBv3LRS+f42ZkYrtcx9ginfD1xHGdwbZHU2Hz8El/y/Rdh+HurYUOnQBs0MZ2XLb2tPU/Nus39vpVLeehjhvlzYzjrXLae1ZyvU+JFAyR80wiyRMWO6XzFxIcOG3Y8D6DuttL1zBzJZIY53dSVpHTezY75A07dzR4aOPvxSrPV8Ql1XScWMBrYw6UADgc201/xf1UHR2TZmfkOzJAc7CjkEEDWBrXW07ZLu3CyDX1H2VmjhcN/jf747J6ufVt/fLpNb9UYkMhhknkkm6T43siZvIDiC4nY2mnjt4UnS9VxMwSTY8jn7C1z4Q2nNc1pa34SN3YcDtYXN/hTqOLBhyOlmjjyTK8zmRwa/g8XuN1/6T5VdgahvyNZ1KEFuMMZ7GPqhJJtaAR78tv8AmHul0Md8seeO/kmtdpeOezp8f1Fh/wAKclkkxx2SRMLhGfhMdOFjbe0l4JP6ipGfquJFiwl2Q8xZDh0Wtbuc7cSQGtDd1guHPcEDz3oND1CHT9DgbMzqvyWybMcfNMXkgCu9UW8/bzSr/wANtNGLqDsfNaf4lkIOPuduaxptzw3xu+Lv9HJdHDbK88fZ62W+M8/T61GeB37Dv3/3+qLZFxOsREQRZ9Lik2bo2nYbaaotPkgjkLfMwWTMMcrGvYatrhYNcjgr3RBV4/pbEjcHsxYWPb2c1jQRxXBA47qXgaZFjtLYY2RNJstYAAT2vjzwFJRauVvvUmMntEX/AAuLq9bpM623b1do3V7X3pQX+j8Mv3nEhL7vdsb39+yuESZZT2qXGXsjHTIjKJjGzrBu0S0NwHtfeuSsHS4ur1ukzrVXV2jdXat3elKRTertFVmelcSZ/Ulxonv8uLASfufKmSabE6LomJhiquntG2rutvarUlFeq+TpnhBbocAfG8Qxh8bQ2N20Wxoug39I5K3n0qJ8jJXxMdKz5ZC0bm9+x7juf3UtFOqm0ERFFEREBERAREQEREBERAREQEREBERAREQEREBERAREQEREBERAREQEREBERAREQEREBERAREQEREBERAREQf/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163848" name="AutoShape 20" descr="data:image/jpeg;base64,/9j/4AAQSkZJRgABAQAAAQABAAD/2wCEAAkGBhAREBQUExQVFRQWGBYYFBgWGBoVGBIZHxcfGh8gHRYbHCYeFx0lGRcfIC8gIygsLywsFh4xQTAqQSorLDUBCQoKDgwOGg8PGjYiHiQ0MjU1LDEsKjQwKTA1NTUuKiwvKTU1NSktKio1Ki0pKSkpMCwsLC0pKSwsKSwpKTUsLP/AABEIADYAoAMBIgACEQEDEQH/xAAbAAACAgMBAAAAAAAAAAAAAAAABgQFAQMHAv/EAD0QAAIBAwMCBAIIAggHAAAAAAECAwAEEQUSIQYxE0FRYSKRBxQjMlJxgaFCYiRDgrHB0eHwFTNTcpKjsv/EABgBAQEBAQEAAAAAAAAAAAAAAAABAgME/8QAKBEAAgIBBAEBCQEAAAAAAAAAAAECESEDEjFBUSITYYGRobHR4fAE/9oADAMBAAIRAxEAPwDsmt6j9XtpZuPs0ZhnsSBwP1NJemdT65cQpLHaW5RxlSXKkjOOxfjtU/6Wb7w9NdR3ldIx787j+y0yaHYeBbQxfgjRT+YXn969Eahp7mrbZjl0LvT/AF60lz9Uu4TbXH8IzuWTjPB8jjkdwcd/KnCucfSUoGoaayf83xMZ89viJ/mfmaceoZ71UUWkcbuzYYyNhYlwTuIHLc8Y96akE9so4sJ82W1Fc91+21m2t3uTfRkxjc0YiCoRnsCe/fzHNNmh6wZ7KO4cBC0e9h5DjkjPlxmsS0qW5OypltRXN+lNb1m+tiUMaZZv6RIo7cDakSjBwQcseOcV40fqfVY7meyZVu5lxsfhEjzyS7AD4cEcYzkY866P/PLKtWibjpdFc11nU9XsJ7Z5riOZZpAhiRNo5IyBxnseDnvinfX7i7SIfVY0kkLAfaNtVB+I/ix6e9c5aTVZWSqRZ0Ug6xYa1FBJO19GDGrOY0iATAGSNxHPHqKttP6mkk0c3b4STwZGzj4dyggED0JA496r0nVp30Nw0Vpu7pYo3kc4VFZmPoAMn9hXPdC1LW7+1QxskIJbdO4G6T4v6tAMAAcZI5I71J+lJrqGyGyYeEVWKRWUGSdie+7HHA5x6mtLQ9ag2ibsWN2ga2l5As0asqMTt3jBIBxnGe2RVjSp0foF/bCNZbhGgRMLEkYUg+WXIzxz+ZqNP1Dd31xJBYMkccJ2zXDLv+L8Ma9j2PJ9PLjMemnJ7Xjz4LeMjpRSAmqahp99bw3MwuYbklVbYEdG49Pcj14z2xVl1bqNzZTR3as0lqMJcxYH2YJ4kXz9jn/HiexdpJ88e8bhtopT6k6vIMdvZYkup1Bj/DChGfEf045AP+hv9HspIYESSVpnA+KRsZY/kOw9Kw4OKtlsTOvz4+oada+XieK49gRj9lb510CuZ9T216uqm5hMOUQJGJdxwCvJwB6sfOtsUmrXn2Ul1b26HhjED4jD0Unt+hFemWnuhHKpIwnlmYz/AMR10OvMFkuNw7GTnt/aP/rq2v8AqW5ubx7Oy2KYhm4ncbhH/KqfxN+fv6Zq+6f6fgsoRFCMAcsTyzt5lj5mufhbzTL+5aCNLhJ23HLbWQ5LYJ9txHy7VYuOo3XSxYyjP0haZdw2yK97LM08ixCMoiKxPPYc4yBTR1jILPSJVX+GERL+oCf3E0t61pt7cy2VzJLCSJ1+yXIjgXg5JPxM3GCfdcUwfSLpklzDDCpUK06GTcSPhHpgHJqtq4JvvI8ln0dp/gWFvH2IjUt+bDcf3NLn0aDxpr+7PPizlUP8q5PH6MPlThq24W0vh8MI32eQB2kDmqf6PNHNtp8aEgsS7MVORkt7+wFcd3ok+2/2arKKbqn+ka3YQdxEGmYeXqP/AIHzqw1nqi4kvPqNkE8VV3TSyDckI47KPvNyPmPfGvSdIc6zc3LlMCMJEASWA+EZIxxwD/5VSX8V3p+qTzwIlwtwMspO1k7HGfzHvwa7JRlUfC+pkOv7C7t7JmkvpZS5WPwwiIr7u445xgGpvW8f1TQ0gH3mEMOPU8Fv3B+dV/UtlfXkcE7yQgrOm23XOyMZyWdz8TMMc8cKTimDrXSpLm4sEyojWXxJMk/FjGABjnjPzFaTrYm+238CeRk0exEFvFEP6tEX5KAf3pQ+kM+Nd6da9983iOP5Vx/gW+VPdc76zS5g1SC6hRZtsRXwydpH3geffdx+Rrz6GZ33n5m5cDj1NfGGzuJB3WNyvsccfvXP+g+m9R+pJJb3awpKWfb4Qc5ztyWP/bT7YlryzxOgQyoyuqnO0HIxuI74/ekDTbvU9MzbReDcwqTsYkjZk58jxz5c4Oea6aV7JQVXfZmXNl6nRF7JdW811drMIG3Koj2f3e4Hyq5616jjsrRndQ7NlI4zyJGI7Eea45PsK9dLSXbq8lxNE+/btjiXCw4zn4j8TE5Gc/hpfk0mW71rfPjwLZcwpnO5sjkj1z8X9layvVL1vEfH2LwsELp65GmzxG9VjcXwLSTt92NsjbF7fzdsEr5DjpVVHVPT0V7bPDJxnlG/6bDs3+Y8wTUXoVbhbNUnkSRk+EMpJO3yDE92Hr6YrOo1qR39/wBX4KsYLOayUzByAcjByM1tm02Jhgov6AAipBFZrhbNEa0Vl+EnOOx9q1WtoEkc4+95/rmppFZIpYIF3p6FlcAZBGfetuoWwdMehBFSNgrOKWDzt3Lg+Y5rRp0GxNvoTUkCgClgiC2xNvH8Qwf9/pWIrQJKzY+951MIrNLBAvrBGIYAbgR+v51sv7YOFPmpBFSdgrOKWDNQ5rUeMr45xj/fzqYKwRRMHidfhIHoaj2NmiLjAz51MryEFLB4jhRSSoAJ74860XVn8YkX7w7+4qVtr1SwRbuMyLtHAPf8vSt1vbqihVGAK9gVmlgKKKKgCiiigCiiigCiiigCiiigCiiigCiiigCiiigCiiigCiiigP/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163849" name="AutoShape 22" descr="data:image/jpeg;base64,/9j/4AAQSkZJRgABAQAAAQABAAD/2wCEAAkGBhAREBQUExQVFRQWGBYYFBgWGBoVGBIZHxcfGh8gHRYbHCYeFx0lGRcfIC8gIygsLywsFh4xQTAqQSorLDUBCQoKDgwOGg8PGjYiHiQ0MjU1LDEsKjQwKTA1NTUuKiwvKTU1NSktKio1Ki0pKSkpMCwsLC0pKSwsKSwpKTUsLP/AABEIADYAoAMBIgACEQEDEQH/xAAbAAACAgMBAAAAAAAAAAAAAAAABgQFAQMHAv/EAD0QAAIBAwMCBAIIAggHAAAAAAECAwAEEQUSIQYxE0FRYSKRBxQjMlJxgaFCYiRDgrHB0eHwFTNTcpKjsv/EABgBAQEBAQEAAAAAAAAAAAAAAAABAgME/8QAKBEAAgIBBAEBCQEAAAAAAAAAAAECESEDEjFBUSITYYGRobHR4fAE/9oADAMBAAIRAxEAPwDsmt6j9XtpZuPs0ZhnsSBwP1NJemdT65cQpLHaW5RxlSXKkjOOxfjtU/6Wb7w9NdR3ldIx787j+y0yaHYeBbQxfgjRT+YXn969Eahp7mrbZjl0LvT/AF60lz9Uu4TbXH8IzuWTjPB8jjkdwcd/KnCucfSUoGoaayf83xMZ89viJ/mfmaceoZ71UUWkcbuzYYyNhYlwTuIHLc8Y96akE9so4sJ82W1Fc91+21m2t3uTfRkxjc0YiCoRnsCe/fzHNNmh6wZ7KO4cBC0e9h5DjkjPlxmsS0qW5OypltRXN+lNb1m+tiUMaZZv6RIo7cDakSjBwQcseOcV40fqfVY7meyZVu5lxsfhEjzyS7AD4cEcYzkY866P/PLKtWibjpdFc11nU9XsJ7Z5riOZZpAhiRNo5IyBxnseDnvinfX7i7SIfVY0kkLAfaNtVB+I/ix6e9c5aTVZWSqRZ0Ug6xYa1FBJO19GDGrOY0iATAGSNxHPHqKttP6mkk0c3b4STwZGzj4dyggED0JA496r0nVp30Nw0Vpu7pYo3kc4VFZmPoAMn9hXPdC1LW7+1QxskIJbdO4G6T4v6tAMAAcZI5I71J+lJrqGyGyYeEVWKRWUGSdie+7HHA5x6mtLQ9ag2ibsWN2ga2l5As0asqMTt3jBIBxnGe2RVjSp0foF/bCNZbhGgRMLEkYUg+WXIzxz+ZqNP1Dd31xJBYMkccJ2zXDLv+L8Ma9j2PJ9PLjMemnJ7Xjz4LeMjpRSAmqahp99bw3MwuYbklVbYEdG49Pcj14z2xVl1bqNzZTR3as0lqMJcxYH2YJ4kXz9jn/HiexdpJ88e8bhtopT6k6vIMdvZYkup1Bj/DChGfEf045AP+hv9HspIYESSVpnA+KRsZY/kOw9Kw4OKtlsTOvz4+oada+XieK49gRj9lb510CuZ9T216uqm5hMOUQJGJdxwCvJwB6sfOtsUmrXn2Ul1b26HhjED4jD0Unt+hFemWnuhHKpIwnlmYz/AMR10OvMFkuNw7GTnt/aP/rq2v8AqW5ubx7Oy2KYhm4ncbhH/KqfxN+fv6Zq+6f6fgsoRFCMAcsTyzt5lj5mufhbzTL+5aCNLhJ23HLbWQ5LYJ9txHy7VYuOo3XSxYyjP0haZdw2yK97LM08ixCMoiKxPPYc4yBTR1jILPSJVX+GERL+oCf3E0t61pt7cy2VzJLCSJ1+yXIjgXg5JPxM3GCfdcUwfSLpklzDDCpUK06GTcSPhHpgHJqtq4JvvI8ln0dp/gWFvH2IjUt+bDcf3NLn0aDxpr+7PPizlUP8q5PH6MPlThq24W0vh8MI32eQB2kDmqf6PNHNtp8aEgsS7MVORkt7+wFcd3ok+2/2arKKbqn+ka3YQdxEGmYeXqP/AIHzqw1nqi4kvPqNkE8VV3TSyDckI47KPvNyPmPfGvSdIc6zc3LlMCMJEASWA+EZIxxwD/5VSX8V3p+qTzwIlwtwMspO1k7HGfzHvwa7JRlUfC+pkOv7C7t7JmkvpZS5WPwwiIr7u445xgGpvW8f1TQ0gH3mEMOPU8Fv3B+dV/UtlfXkcE7yQgrOm23XOyMZyWdz8TMMc8cKTimDrXSpLm4sEyojWXxJMk/FjGABjnjPzFaTrYm+238CeRk0exEFvFEP6tEX5KAf3pQ+kM+Nd6da9983iOP5Vx/gW+VPdc76zS5g1SC6hRZtsRXwydpH3geffdx+Rrz6GZ33n5m5cDj1NfGGzuJB3WNyvsccfvXP+g+m9R+pJJb3awpKWfb4Qc5ztyWP/bT7YlryzxOgQyoyuqnO0HIxuI74/ekDTbvU9MzbReDcwqTsYkjZk58jxz5c4Oea6aV7JQVXfZmXNl6nRF7JdW811drMIG3Koj2f3e4Hyq5616jjsrRndQ7NlI4zyJGI7Eea45PsK9dLSXbq8lxNE+/btjiXCw4zn4j8TE5Gc/hpfk0mW71rfPjwLZcwpnO5sjkj1z8X9layvVL1vEfH2LwsELp65GmzxG9VjcXwLSTt92NsjbF7fzdsEr5DjpVVHVPT0V7bPDJxnlG/6bDs3+Y8wTUXoVbhbNUnkSRk+EMpJO3yDE92Hr6YrOo1qR39/wBX4KsYLOayUzByAcjByM1tm02Jhgov6AAipBFZrhbNEa0Vl+EnOOx9q1WtoEkc4+95/rmppFZIpYIF3p6FlcAZBGfetuoWwdMehBFSNgrOKWDzt3Lg+Y5rRp0GxNvoTUkCgClgiC2xNvH8Qwf9/pWIrQJKzY+951MIrNLBAvrBGIYAbgR+v51sv7YOFPmpBFSdgrOKWDNQ5rUeMr45xj/fzqYKwRRMHidfhIHoaj2NmiLjAz51MryEFLB4jhRSSoAJ74860XVn8YkX7w7+4qVtr1SwRbuMyLtHAPf8vSt1vbqihVGAK9gVmlgKKKKgCiiigCiiigCiiigCiiigCiiigCiiigCiiigCiiigCiiigP/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163850" name="AutoShape 24" descr="data:image/jpeg;base64,/9j/4AAQSkZJRgABAQAAAQABAAD/2wCEAAkGBhQGBRUUExQWFBUUGR8YGBcYGCAeHBkfIBkaFx8gHCIdJycqIiIjHhUaIDAhIycqLiwtGx89QTAqOiYsLCkBCQoKDQsNGQ4OGTUkHiQ1NTU1NTUvNTU1NTU1NTU0NDUsLjY1LDQ1LzU0NDQpLi82LDQwNCwyLzA2NDUvNCwzNf/AABEIAEAAeAMBIgACEQEDEQH/xAAbAAACAwEBAQAAAAAAAAAAAAAFBgADBwQCAf/EAEMQAAIABAQDBAUGCwkAAAAAAAECAAMEEQUGITESQVETImFxByOBobEUMjNCcpEVNUdSYnODssHC8BYXNlOCkpPh4v/EABoBAAIDAQEAAAAAAAAAAAAAAAMFAQIEAAb/xAAqEQABAwIFAwQDAQEAAAAAAAABAAIDBBESITFBUROB0RQjYbEFcaFDQv/aAAwDAQACEQMRAD8A4YspqZqyeFRSzHYAXJiSKc1VSqKLsxCgdSTaNSpaKRkPAC7at9ZubtyUdB0j1VTUiEAAXcdAvD0dGai7nGzRqUs4d6NZ1Qt5rrK8B3m92kE/7sZQ3ntfyWBBxauznVlZRKINwp4VX7Tbkx3L6MZrrdqheL7LH33jE+SRp92UNPAF0yjhhcPZgLhyTZea30YPLS8qareDDh94vCjiOFzcKqeCahQ+Ox8jzhkqaavyWQwmF5fM3LJ/qB1HnDRhmIyc84MyTEAYfOXmp5MpiwqJYhjcQ9nIVHUkE5MbQWP4OhWUwVy7gD5gr+BdFGrMRoB/E+Efa7LkylzH8mA4mJ7p6g7HyA38o0L1WQssdW97vb4fAQeoqsLQI83O0WWkosb3GbJrdfCTc25fp8vS1VJjtNOpBtYDqel4Ftl6euB/KOD1fvt1I6eMFcuYO+b8eabOuUBu56nko8OXgIY/SFjQw3CRToLGavsCDSw+6Bid8b2wA4nboxpopWPqHDC3ZBKjIw/ssKhJh4uAOysBba5tbUQobxrf5N/2H8sZGNoJRyvkx4jexQfyMEcWAsFrhfYkSJG5K1IkSJHLkw5ClCZnCXfkGI8+H/uDPpSnkVElPqgM1vHb4QJ9H3+L0+y3wgl6U/xjJ+w3xhY/Oub+vKeR5fjX258Jky6gwnIaugF+zMw+LWJ1jNqjMVRU1XG06Zxb6MQB5co0miF/RwP1B/dMLGXq3DcPwwdoC8zdi8sk36DlaM9O4NMjy3EbrTVMLxEwPDRa+tk2ZZqXxrKYNQL8QKkkfOXa584SMjOafO4VT3Txr5gXt8BHfj2fzW05lUyMoYWLEd636Kjbziv0aPJTE24j60iyX2tzt46RLY3RwyvcLYtuFD5WTVELGOvh35T7VSJVJPNQ4AZUsXPJd7RmdfVzc85mCpcLso5KvNj5x3Z5zIcWrhTSdUU2NvrtyHkDDLl/CEyfgLTJpAcjimN06KP61MCiHpYxI7N50CNM71kpiblG3Nx5RbDKSVglMkhCBpoObW3MIvpS/G8r9WfiYvytjTY/6QDMbQdmwVfzRf48yYo9KX43lfqz8TFqeJ0VUA45kXKrVzNmonFgyBsE0fk3/YfyxkY2jXPyb/sP5YyMbRq/H/8Af7WH8t/l+l9iRIkM0lUiRIkcuRHAaKbXYoBIbhmAFlN7bDa/j46RfmPFJ2IT0WoXhmSgVOlibm9yNvaN458Dxg4FiqzVUMRcEHmDv5GNIo8Uo830wLqpZO8UmfOW2vtHuhfUSOhkDyy453Cb0kLZ4TG19ncbFJ6T6zGMu8Kjs6eTL1OoD8Ivvu3s0izK5w+qobVKqkxfrFmAcddDv1gnmjPMr5E0inAYMpQv9UA6d0c/cPOECOijdLGcQwZ5W17rp5WQSjCcdhY3zHZahR5hw7CqgJK4QWNiyqdPtMYF5vyb2ZNRTD9JkX95LfAQhw35OzocLYSZxJlbK3NP/Pwgb6Z8Huwkk7g7osdbHU+zOA0bEbInkHLHYr8pmjU/Rg8hzY+JgNnfM/4YreyQ+qQ/7m6+Q5Qcz3msSKbsJLDicXdlOynkPP4RnUTSxOlf6iTsOFWtmZBH6WHueUbybiIwzM6MxsrdwnpcWHvhs9I+CPWyEnIC3ZghgOhN7+yM4hxy36QGw+SJc8GYg0DD5yjoeo98EqYXiQTxZkbIdHURGJ1NMbA6HhduWs6yVwUSKkWCjh4rXVl8bc4+1UvCKilKqyoSNGXiuPK9xHVNp8Kx1+LiRGO9iUPtG0ctZlzDKKmLGcTYXss0EnyHOMV4sdxiaTsExImwYSWPA3KVcPmSMOxcicq1ErbiW4sPzl29oMOmJZGp8UwkPSWVrXUgkq/gb7fwhLw/DUxnFyFZZEoHUu4uB4E7k+6H6pzBS5TwIJIKzLaIiMDc9WI213MGqnPD29InFxt32WeiZGY39YDBzv23WY1VK9FUlHUqymxB/rXziRbiWJTMVrjMmNdj9wHQeESGrb2GLVI34cRw6Lzh9A+KVyy5YuzbfxJPQR2TsMlU89kNQOJbgkS24Ljlxe69rRXgWJtg+LrNUAkXBBNgQRY68oJ0s+mpMTaZwlwQ3qnMsqC36V9QL9Lxnkc8O+LbW1WuFkbmDm+99PhCRQp2AJmEXH+W1vv2j0cNVSLzCL7eqfXyg5TZgWnw6UnCCZSqCS62azlrEchrcEa3A3EeaHGxhz6cUy8ztCZjrdRYju2v3u9qdtIH1Jc8vpFEMOVz9+UESgSYdJpPlKc/CIaBFS/aG3XsntfzgtR4ouHU7KneBD2LMo7zHS4B2FvvivF8VOL4bLViO0S/EbrY3a/XTytFw9+L47eFUxRBpO/fyqKTAVq8Neb2wCS2Ck8DEknbTSPGJ4CMIrCkyaAdDojEWOo15Hwjqw3FThuX5spTZ5jAh1dRa1vbFcuqWfhZlzmZiZgmFg6m+lrEsYjFLiJJy7KcEJYABnb5+VwLQo7WE25OwEptY9nC1UfSN/wvBlcdV2VmVQVBl2DKVaXe4U3III/OEeKbGhTmULHhlzXfh7UHusLBbk628YjqScfSnow8j+oMaKWN5vj9G8T5FLF/W7aH1baecFlxkGShZVaYosX4x3gpvLB8ibnraLXxeXNZiVsXaXMZQyFSyXvvybSJ6kg2+lHSiO4/vlBjhyAC8w97b1T6+XX2RPwenD9IbHT6J7HlBqRja01Y73Z+0mLMId17gVuLu9W+rfTSLUzGiypY4fmENcTF1tNM3hsdLG413uOkV6kvH0rCGHc/aV6unFNOsCTpfVSvuaJHRjVQKrFWcbMSeWlyTyJj7GthJaLpfIAHkDRf/9k="/>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163851" name="AutoShape 26" descr="data:image/jpeg;base64,/9j/4AAQSkZJRgABAQAAAQABAAD/2wCEAAkGBggRERMUExQWFRUWGB8aFxcYGBobHRkZHxkcGB8XFx4YJyYhGRskHRscIC8oJyspLDgsGCo1NjMqNTIsLDUBCQoKDQsNGQ4OGTUkHiQ1NTU1NTU1NTU1NTU1NS0yLDQpNS81MDU0LzU0LCwtMDE1NSs0NDUyNDQsNC80NDQvNP/AABEIAEMAXgMBIgACEQEDEQH/xAAbAAADAAMBAQAAAAAAAAAAAAAABQYDBAcCAf/EADwQAAECAwQGCAMHBAMAAAAAAAECAwAEEQUSITEGE0FRYXEHFCIyUoGRkhWhsSM1QmKCwdEzcrPhNEOy/8QAGgEAAgMBAQAAAAAAAAAAAAAAAwQAAQUCBv/EADIRAAEEAAQDBAgHAAAAAAAAAAEAAgMRBCExURJBgRNxoeEiMjRCYbHB8AUjJFJikdH/2gAMAwEAAhEDEQA/ANGPqEKJAAJJwAGJJ3DfHwAmOmWRZchZctr3xV4jmQTk2jjvPPZHrJ5xCBlZOgXg8LhTiHHOmjU7KTlNA7dcFdWED86gD6Zx5ndB7caFS1eH5CFfIY/KHSdJ9KZwkyzd1A8IBpzUvAnlTlH1Gl+kcotIm2ypJ3pAP6VJ7JPAwr2uJv3b2vNPdhgqv06/dWShiII6NpRYclOy/W5al8C8aCl8DMKHjH7U3RM6FWB1qYF4VbbopfHcnz+gMMMxTHRmQ5VqErJgZGTNibnxaHdYXtEbQRLdYXdQjA3VHtEHLCm3dCpqWcUUgDvm6knImoGfCoiy0ztB2cmm5RnEJVQ7ivaeSRX5wy0pTJSzMpKpAKtYgjeAFYrPEk/MwFmJeA0OGbuWwTD8FGS8sPotyvc/BQ1tWFOyiwh0AVFQQagjgeEL4vOlXvS/Jf1TEHDGGlMsQe7UpPGwtgndG3QIggghhKJxohLJcnWEnK9e9oKvqBFFp2px+eYl6kJ7I81qxV6AQj0F/wCez+r/AMmHekf3wxza+vGM6Y/qb2aVsYcfoq3eAfBN9LNIjZ6GmZdCQSMKjBKRhgNpJj1o5a6LTl3Wn0CqaBRGRrWihXuqBBjBpbYqJqdYbUsISGyVGoBpeyTXM1jI9PWNZTCkNKC3VYgVClFVKArp3Ujy4QgGsMTWsFyHO+q1S6Rs73SECIZV05BL+jSYcQ5MME1A7XCoNwnzw9Ia2kuWsqTXq6axxRu8VKOfJKfoN8LujGUTdfeKgSTd4inaJO6pPyhbNrctW0AhNdSjb+QHtK5qOA8t0FewPxDr9UUT0QI5DHhGcI9M2G/Cym/RxYKkpVMud5zBFc7tcVfqPyHGNDT/AO8Jb+1H+VUPbWtpCZuUlG8AFArpsF03Ufv6Qi0++8Jb+1H+VUVCXvxHaO5g13cleIayPCmJnukA9/Ne+lXvS/Jf1TEHF50q96X5L+qYg40MB7O3r8ysn8U9rf0+QRBBBDizlu2LPTDLyHG03lIqaUJqKGuWOVYb2hpHLPTzMzRSUpuFQ2i6cQKd75Qv0XtFhiaaccrdSTWgrSoIr846E5oVYb7iZhP9Mi8UpIuK44ZDeBGfiZY4pLkHLX6LWwcMs0PDE4ZG6PzUlOzhtObbDh1CFApaJTerjtNRUk1GGFcIo7O6ObMZIU85rMaBJohJJyFK1J84l9OrUknX0ag9ltFyqRQVCiezwET7ky8ogqUokZEkkjkTlEEMkkbeB3AK0VnEQxSuMjeN1639NFRW9Z8/ZrjiW1EMvpKQd6fCdyhlXcYqLBlWrNkVvuj7RQvEbccEN/PHmd0etFbblZ9oNPgKdaIVj+K6cFjjsI/YxOdIVv657UpPYaOPFe30y9YW/MncIHiq9Y7gaJz8rDMOKjNg+qNidUrsS0Vqn2nXDip0FRPE08gKxQ9JCHETUu9TshIHmlZUR6ERCx0qxrbs20mBLzNA6ONCojJaD4t4+ohnEtMT2ygWBke5J4N4mifATTibF7retqw5O1ENOIeoEg0IAPepgRhQikQlr6M9VmEtvLIaV3XQmuHEVGIOeOWOMPn+jCbCjqn03fzBQPndrWJ23LAfYdQyXQ64r8CbxpXLPad0Cwrmg8DJLG1adUbGtc4dpJDTss7yPT/Ex0h0Eel2g625rUDFVE0oNihQmo3+sSsdblnEWdIJEwu+QKXd5OTSd42Y/SOTvLSpSiAEgkkJGQxyFdgg+DmfIHB2YB13Sv4hh44S0syJGY2XlKVEgAVJyA2w41NutNKa7aW1EX0Xk4E7FCtUV3GlYw6NTzDM00453UqxwrTAivlnG7L2ZIBS1POoX9q3douoWkr7ZWB2gAnHGh5waV9OojLuv7pAgjttg55jWsq596VfCZ3wH1H8wfCJ3wH1HLfD55ixLyLgaulQ1hJIOruDFA2KrewFTUJ2GMLTFjhZUbhQWwUjMhQZUVXhsN8DA4EnDCOe3dWnh5rs4ZgNX4+SWykrajSwtsKSoZEEbue6sfHLBtSl4tLoaGuGRyJxwB3mM9uiQKWlMoSm8mqkgglJqeyduVOEOH7YltZLtdgtrbZQ+vE9lJxQdiQNuFeMUZH5OA+x1ViGPNrnaaZ79P7U38InfAfUfzB8JnfAfUc98NZGTsoISHLqnEqvKooAFBBTcBPZJT2V+dDGQfCEpPZaWUh3G6U37qm7mFcLwKoszOugPDzVDDMqyfHyWq0/pCgUSt4Ddf8A9xrpl7XDmsF/WV794XqnA41rvEMlydhVWkKTneQo1yCgspVzSq4OKOMDsrZCVf8AWUfaldDVQN46oN+Vzfmq9HIkHJvh5rsxE6u0/l5de5L5xu2XqawuLpleUDTbhUwsWhSSQcCMDFeJfR6o/pd9dcwLtXLpBOf4MDsoYknwLysszlSnlTD0gsL+LKq6UgYiLgp12T8bXkEjKMnWX/Gr3GCCDEJUEhHWXvEr3GDrL3iV7jBBEoK+I7o6y94le4wdZe8SvcYIIlBTiO6Osv8AjV7jB1l7xK9xggiUFOI7o6y94le4wdZf8avcYIIlBTiO6OsveJXuMY1EnOCCIAqJJX//2Q=="/>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163852" name="AutoShape 30" descr="data:image/jpeg;base64,/9j/4AAQSkZJRgABAQAAAQABAAD/2wCEAAkGBhQSEBUUExQUFRQWFxwZFRcXGBseFRocHxsYGCIXHxobGyciGBwkIB8YHy8hJCkpLCwuHx4xNTAqNScsLCkBCQoKDgwOGg8PGS8kHyUzKi0tLywuLDAqLDQsKi01LCw1LCkwLywvLCksKiwsLCwqLCwsLCwsKSwsLCwsLCwsKf/AABEIAGAAzAMBIgACEQEDEQH/xAAcAAEAAgIDAQAAAAAAAAAAAAAABgcFCAEDBAL/xABAEAACAQMCAwUFBAgDCQAAAAABAgMABBEFIQYSMQcTQVFhInGBkbEyQlKhFBUjM3JzssE1YpIkJTRTVKLC0fD/xAAZAQEAAwEBAAAAAAAAAAAAAAAAAQMEAgX/xAArEQACAgICAAUCBgMAAAAAAAAAAQIDESESMQQTQVHwYdEUgbHB4fEiMqH/2gAMAwEAAhEDEQA/ALwpSlAKUpQClKUApSlAKUpQClKUApSlAKUpQCsRxBxZbWS81xKqHwXq7e5RufpUY7Te0gWC9zDhrlxnfpGp+8R4k+A+NUhZ20+oXapzNJNM2OZjk+pJ8ABvWqrw/JcpaRnsu4vC7LL1Xtzkkbu7K2yTspkyzn3Iv9yfdX3b6Dr96Oaa4Nsh8M8h/wBMYyPianXB3Advp8Y5FDSke3Kw9on0/CPQVJD6VDtjHUF+bJVcnubKvj7Dw+9zfTyHxwP7uzfSvdD2G2A6tcN73A+iisrecYXNqx/SrKQxA/vrc94uPxFNmWsvoXFlreDMEyOfFc4ce9TvUOy3Gc6+n8EqFecYMLadllpEQY5LtMfhuJB9CKlltbhECgsQPFiSfiTua7aVTKTl2y1RS6FKUrkkUpSgFKUoBSlKAUpSgFKUoBSlKAUpSgFfE8oVWY9FBJ9wGa+68+oQl4ZFHVkYD4giiBqrr2rNdXMs7nJkcn3DwHuAwKnXYRbq2oSsRkpASvplkUn5Ej41XEkZVip6gkH3japL2ccRCz1CKRjiNv2cnorbZ+BwfhXs2RzW0jzIPE02bNUoDSvGPTFRPiXs4tro94mbe4G6zReyc+oGzfWpZSuoycXlENJ9lY2nG13pky2+qrzxNtHdIOv8Xn6+I9asm2uVkRXRgyMMqwOQR5g159Z0aK6haGZA6MOh6g+YPgR51U2j6zNoN9+h3DF7OQ5jc/dBOOceWDsw+NXcVatd/qVZcHvoualcI4IBByDuCOhrms5cKUpQClKUApSlAKUpQClKUApSlAKUpQClKUBrx2ucKm1vmlUfsbgl1PgG+8nz3HoagtbVcVcNR31s8EnjujeKMOjD/wC3Ga1j1vRZbSd4Jl5XQ4PkR4MPMEbg16vh7eccPtHn3V8XldF09kPHouIRaTN+3jGIyT9tB0H8S9PdirKrUKCdkYMhKspyrA4IPnmrq4C7Y0lCw3pCSdFm6I38X4W9eh9Kov8ADtPlEupuX+si06VwrAjI3B6GuawmoVW/bnpavYJNj24pAAfRtiPoasiqi7dOJ15Es0OW5hJL6AfZX3nc/KrqE3YsFVzSg8ma7FuJDcWJhc5e3IUefId1+W4+FWHVH9gbn9LuB90wgn3h9vq1XhU+Iio2PApeYIoPi7j68v7021ozpHzmONIzhnIJHMW9dz5AVw3Z3rUGJEZy3+Sclh8M7/CvFxlwddaZeNPEG7oSF4ZkGy5OQrfhI6b7GpNwx26NzKl7GCvQyx7EepTx+HyrY8qKdSTRmWHJ828lt2SFIUDsWYKoZj1JwMk/Gq30Dtfe71GK3WFI4mZgxZiX2Vj6AbgVLeMdE/WVh3cMqqJCjrJuVI6+HmK144c0Jrq8S3VwjOxAY5wMAnw38KoprjKMnL+i22cotJG1QYdc1wsgPQg1FuHOGmsdLeCRxIwErcwBx7QJxvvVBcOTXTube2LF7hQhAOCV+0RnOw23PlVcKVPOH0dzt44yuzaSG5V88rK2Dg8pBwfI46VzLMqjLEKPMkAfM1BOzrhyXSrS5N1y/a732Wz7Kpv8dqrSC4m1y+bv7lYYgCw5mARFzgKqkgFj5/GkaVJvel6h24S1tmwsFyrjKMrDzUgj8q7K1x1JZNFvka2uVmTAYFWHKwzgxuoYjw/MGr4vFN5YN3TlDPDlGBIKllyDkdKiyrhh50yYWcsrG0e6bUI0OGkRT5FgD8ia71YEZG4PQjpVAaj2fWsKkXGqwifG6AFgG/CSGJ/Ie6uzsc4oliv1ti5aGbmHKTkBgCwYZ6dCPXNdvw64uUX19DhXPlhovtnA6kCviW4VV5mZQvmSAPmarLt6ci1t8Ej9qen8NQfh7gy91Oz5xKO6twyRI5PtHdyAB6nqfQVEKU4828EytalxSNhopQwypDA9CDkfMV8R3iMxVXQsOoDAkfAGtZ+Fb29dzY20rILghWGcAY3Jz93bOcdRtXZxRwzcaTdIDL7RHPHJGSOhx475Brv8Ks8eWzjz9ZwbNVE+P+AY9Ri8EnQfs5P/AAbzU/lWY4X1U3NlBO2xkjVm9+N/zr0z6vCn25ol/idR9TWZOUJa7NDxJbNWNa0Oa0lMU8ZRx59CPMHow9RXgrZXiHXtJmj5Lqa1kX1YMR6grkg+6qz1Gx4eRiVmuWH4Y+Yj5so+telXe5LcWYZ1JdNGH4N7T7mwIQnvoPGNz0/hb7vu6VfmgcQx3duJ0Dop6iRSpGOvXqPUbVSMXGum2u9np3O4+zJctzEevKM/kRWC4i4+vL3IllIj/wCWnsx/IdfjmuLKfMeUsfPY7hbwXeS0+Oe2KKANFZkSzdDJ1jT3fjb8qo+6umkdnkYs7HLMepPnXVVk9nnZNJcss92pjgG6odnk+H3V+tWqMKI5K25Wsl3Yhw40No9w4w05HJnryLnB+JJPyqyq+Y4woCqAABgAdAB4V9V5c585OTN8I8Vgh8XarpzPJG83dsjMhDqeU4JXIIBBBxVRdqN7YS3KNYhfsnvSgxGWyMYG2+M5wPKrD1HsKtHYtHLNHk5I2YfDO/zJr06H2KWcDh5C85ByA+AnxUdfia1QnVW+SbM842T00jMdmVu6aTbLJnm5CQD1CliR+WKo7gzUUtNWikmPIiSuHP4chlyfTJrZlVwMDYVAeJOxu1up2mV3hZzlwoBUnxOD0J8a4qtinLl6nVlbwuPoSl9ViubOSWFxJGUcBh0OAQevrVHdiw/3rH/Lf+mrs4e4VS0shaK7MuHHMcc3tkk9PfWF4V7K7ewuBPFJKzBSuHK43GPACohOMYyj79EyhKTiyRcT2TTWdxGv2nicL6nBwK1q4Z062luO7vJmt1xgOFBAYHo2eg671tRUI4o7JLS8kMvtQyNuxjxysfMqfH3YpRaoJp+otrcsNEEbs70oFR+tASxAAHISSdhsCamHaXcPYaKkULN9yAv0blwcnboTjHxryWHYRbI4Z55nwQQByr03671YGr6PFdQNDMvNG4wR4+hB8CDvmpnauS3lERreHrBQ3Z3oOnTRTS38wUxnaMycmVxnm82OdsCsf2dlf1zb8n2e9bl93K+PyqyYOwa1EgZppmQHPJ7IyPIsP/VZTSuyK1t7tbmN5QUcsqZXkGcjl6Zxv51c74f5beytVS1row3b5/wlv/NP9Ne/sQ/ws/zpPolSPjDguLUY0SVnUI3MOTGc4x4g13cJ8Kx2Fv3ETOy8xbL4zk4HgB5Vndi8rh6l3B+ZyKI7NP8AGoP5j/Rqk/b9+/tf5b/1CpjoXZJbWt0lykkxdCSAxXl3yPAetZDjHs9h1J42leRTGCByEYOTnfINXO6HmqXoVqqXBxMXw5pbXPDiQocPJbsqnwzlsD+1UNqely28hjmjaNx1DDHy8x6itp9B0ZbS2jgQsVjXALdTuTviu6902KYYljSQeTqD9RtVdfiOEnrTOp08kvc1HoBW0g4Fsf8ApIP9Ar223D9tH9iCFfdGufnir34xexV+Gfuaw6dwzdXB/Y28r+oQ4+fQVNNF7D7yXBnZIF8fvv8AIHHzNX0KVVLxcn0sFkfDxXZEOGey2ysyGCd7KPvy4OD6L0X6+tS+lKyyk5PLZoUVHSFKUrkkUpSgFKUoBSlKAUpSgFRHjzjdrLuoYI+9upziJPAbgZOOu5wBUuqtO1DTp4ry01CKNpVg2kVRkgA5zgeGCRnw2q2pJywyuxtR0ZfQhrPfxm6Nr3Jz3gQHnUY6e/OPOvHwDxbLLJqJuph3dvLhS3KoRcyDqAPIdah0ur295rNpPaC453mVrhXBwuOUDAGQBsc+FeRdKmltdYWJWLfpSMVAOWUPNnA+91Bx6Vp8tNb116dbKeft9f0Lc0jj6xuZe6huFaTwXcZ92RvUQ4f7SxHd3yX1wAiTFIFK74DOCByjJwANzUbe7ivptMjsIWWWDl79gnKEwVzzN6EMc+vma6bXWLa2utVN1AziZ5Ehbu+Yc3M55cn7Ocg5HlRUxWVj79h2PXxdFvX3GlnDAk7zoIpP3bDJ5vQACsTr3G0cml3NxYzKzRge0BupLKN1YeIzVZw3N1Y6dZK/NBFLM7tL3fO8anlA5QR7JI5j5murR4/9n1jl71lMaFWdeV2Hej2iuOp61Coit/X9w7W9fOi5+C9RefT7eWVuZ3jDM2MZPngVBNM411PUJpjZm1jSJsLFL+8Yefr+QFTPs8GNKtM7YhWql4v1GwncyWUV1DqBkHsqpAJzucA7Hx23z18a5rinKSx/B1OTUU8lw6xxhbWQQXUyI7AbDJJ8zgZIGa5m41s1SKRrhAk2e7bPsnHXfwx61UfEIubbUUmupXg7y3jUzdwJlzyAMmMjBznOPP1rwXujRi2sVjka4hkunOTEY8AmNSOXmOx99SqI4WyHbLei6LHjqymeNEnBaXPdjBHNgkbZHmDWN4r4zQQXCWtzElxAVDs4JRPaCkE4IydwOtYTtR0AW8NrdWsSqbSUewi4HIWz0H+Yf9xqNto7jh66uZFPfXcyyNtvy95tt168x+Ncwrg8S+v7/YmU5LKLOl4wt7a1gkuriMNJGpyM+2cDLKuM4z6Um4+skt0uGnURSZCEg5bBwcLjO1VfesLW9sLq7iaS0/RIlU8vMqMEx0O2Qd8etccX6iHvLW/gZobMoVjlEAYRsGYNmPIAJO9SqYtr5+RHmtfP+lsJxlZm1N0J07gHBfyP4cdc+ldWncd2U6lo5wQDg7N1wD5eoqqItMsm02dpLyVo5bpSJFtioSUIx5jHzHKEEjbHhXfw9xnqYiYQ2y3cYchZu5ILAAAdMZ2A67+HhTyFh4+xPmv1P//Z"/>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spcBef>
                <a:spcPct val="0"/>
              </a:spcBef>
              <a:buFontTx/>
              <a:buNone/>
            </a:pPr>
            <a:endParaRPr lang="fr-FR" altLang="fr-FR" sz="3600">
              <a:solidFill>
                <a:srgbClr val="0077A9"/>
              </a:solidFill>
              <a:latin typeface="Arial" panose="020B0604020202020204" pitchFamily="34" charset="0"/>
            </a:endParaRPr>
          </a:p>
        </p:txBody>
      </p:sp>
      <p:sp>
        <p:nvSpPr>
          <p:cNvPr id="27" name="ZoneTexte 26"/>
          <p:cNvSpPr txBox="1"/>
          <p:nvPr/>
        </p:nvSpPr>
        <p:spPr>
          <a:xfrm rot="20473344">
            <a:off x="22225" y="1747838"/>
            <a:ext cx="1069975" cy="317500"/>
          </a:xfrm>
          <a:prstGeom prst="rect">
            <a:avLst/>
          </a:prstGeom>
          <a:solidFill>
            <a:schemeClr val="tx2">
              <a:lumMod val="65000"/>
            </a:schemeClr>
          </a:solidFill>
          <a:ln w="9525" algn="ctr">
            <a:noFill/>
            <a:round/>
            <a:headEnd/>
            <a:tailEnd/>
          </a:ln>
        </p:spPr>
        <p:txBody>
          <a:bodyPr lIns="71997" tIns="35999" rIns="71997" bIns="35999" anchor="ctr"/>
          <a:lstStyle/>
          <a:p>
            <a:pPr indent="-95245" algn="ctr">
              <a:buClr>
                <a:srgbClr val="99CCFF"/>
              </a:buClr>
              <a:buSzPct val="105000"/>
              <a:defRPr/>
            </a:pPr>
            <a:r>
              <a:rPr lang="fr-FR" sz="1200" b="1" dirty="0">
                <a:solidFill>
                  <a:srgbClr val="FFFFFF"/>
                </a:solidFill>
                <a:latin typeface="Century Gothic"/>
              </a:rPr>
              <a:t>Stock  </a:t>
            </a:r>
            <a:r>
              <a:rPr lang="fr-FR" sz="1200" b="1" dirty="0" smtClean="0">
                <a:solidFill>
                  <a:srgbClr val="FFFFFF"/>
                </a:solidFill>
                <a:latin typeface="Century Gothic"/>
              </a:rPr>
              <a:t>2017</a:t>
            </a:r>
            <a:endParaRPr lang="fr-FR" sz="1200" b="1" dirty="0">
              <a:solidFill>
                <a:srgbClr val="FFFFFF"/>
              </a:solidFill>
              <a:latin typeface="Century Gothic"/>
            </a:endParaRPr>
          </a:p>
        </p:txBody>
      </p:sp>
      <p:sp>
        <p:nvSpPr>
          <p:cNvPr id="163854" name="Rectangle 23"/>
          <p:cNvSpPr>
            <a:spLocks noChangeArrowheads="1"/>
          </p:cNvSpPr>
          <p:nvPr/>
        </p:nvSpPr>
        <p:spPr bwMode="auto">
          <a:xfrm>
            <a:off x="3914775" y="2801938"/>
            <a:ext cx="4384675" cy="339725"/>
          </a:xfrm>
          <a:prstGeom prst="rect">
            <a:avLst/>
          </a:prstGeom>
          <a:solidFill>
            <a:srgbClr val="00507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algn="ctr" eaLnBrk="1" hangingPunct="1">
              <a:spcBef>
                <a:spcPct val="0"/>
              </a:spcBef>
              <a:buFontTx/>
              <a:buNone/>
            </a:pPr>
            <a:r>
              <a:rPr lang="en-US" altLang="fr-FR" sz="1600" b="1" dirty="0" smtClean="0">
                <a:solidFill>
                  <a:srgbClr val="FFFFFF"/>
                </a:solidFill>
                <a:latin typeface="Calibri" panose="020F0502020204030204" pitchFamily="34" charset="0"/>
              </a:rPr>
              <a:t>Turkish </a:t>
            </a:r>
            <a:r>
              <a:rPr lang="en-US" altLang="fr-FR" sz="1600" b="1" dirty="0">
                <a:solidFill>
                  <a:srgbClr val="FFFFFF"/>
                </a:solidFill>
                <a:latin typeface="Calibri" panose="020F0502020204030204" pitchFamily="34" charset="0"/>
              </a:rPr>
              <a:t>Companies / Sector breakdown</a:t>
            </a:r>
          </a:p>
        </p:txBody>
      </p:sp>
      <p:graphicFrame>
        <p:nvGraphicFramePr>
          <p:cNvPr id="25" name="Tableau 24"/>
          <p:cNvGraphicFramePr>
            <a:graphicFrameLocks noGrp="1"/>
          </p:cNvGraphicFramePr>
          <p:nvPr>
            <p:extLst>
              <p:ext uri="{D42A27DB-BD31-4B8C-83A1-F6EECF244321}">
                <p14:modId xmlns:p14="http://schemas.microsoft.com/office/powerpoint/2010/main" val="2443347136"/>
              </p:ext>
            </p:extLst>
          </p:nvPr>
        </p:nvGraphicFramePr>
        <p:xfrm>
          <a:off x="3703905" y="3233910"/>
          <a:ext cx="5298343" cy="1218752"/>
        </p:xfrm>
        <a:graphic>
          <a:graphicData uri="http://schemas.openxmlformats.org/drawingml/2006/table">
            <a:tbl>
              <a:tblPr firstRow="1" firstCol="1" bandRow="1">
                <a:effectLst>
                  <a:outerShdw blurRad="50800" dist="38100" dir="2700000" algn="tl" rotWithShape="0">
                    <a:prstClr val="black">
                      <a:alpha val="40000"/>
                    </a:prstClr>
                  </a:outerShdw>
                  <a:reflection blurRad="6350" stA="52000" endA="300" endPos="35000" dir="5400000" sy="-100000" algn="bl" rotWithShape="0"/>
                </a:effectLst>
                <a:tableStyleId>{5C22544A-7EE6-4342-B048-85BDC9FD1C3A}</a:tableStyleId>
              </a:tblPr>
              <a:tblGrid>
                <a:gridCol w="1177410"/>
                <a:gridCol w="1333386"/>
                <a:gridCol w="1506781"/>
                <a:gridCol w="1280766"/>
              </a:tblGrid>
              <a:tr h="332562">
                <a:tc>
                  <a:txBody>
                    <a:bodyPr/>
                    <a:lstStyle/>
                    <a:p>
                      <a:pPr>
                        <a:lnSpc>
                          <a:spcPct val="115000"/>
                        </a:lnSpc>
                        <a:spcAft>
                          <a:spcPts val="0"/>
                        </a:spcAft>
                      </a:pPr>
                      <a:r>
                        <a:rPr lang="fr-FR" sz="1600" dirty="0">
                          <a:solidFill>
                            <a:srgbClr val="00507A"/>
                          </a:solidFill>
                          <a:effectLst/>
                          <a:latin typeface="+mj-lt"/>
                        </a:rPr>
                        <a:t> </a:t>
                      </a:r>
                      <a:endParaRPr lang="fr-FR" sz="1600"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a:lnSpc>
                          <a:spcPct val="115000"/>
                        </a:lnSpc>
                        <a:spcAft>
                          <a:spcPts val="0"/>
                        </a:spcAft>
                      </a:pPr>
                      <a:r>
                        <a:rPr lang="fr-FR" sz="1600" b="1" dirty="0" err="1" smtClean="0">
                          <a:solidFill>
                            <a:srgbClr val="00507A"/>
                          </a:solidFill>
                          <a:effectLst/>
                          <a:latin typeface="+mj-lt"/>
                        </a:rPr>
                        <a:t>Companies</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a:lnSpc>
                          <a:spcPct val="115000"/>
                        </a:lnSpc>
                        <a:spcAft>
                          <a:spcPts val="0"/>
                        </a:spcAft>
                      </a:pPr>
                      <a:r>
                        <a:rPr lang="fr-FR" sz="1600" b="1" dirty="0" smtClean="0">
                          <a:solidFill>
                            <a:srgbClr val="00507A"/>
                          </a:solidFill>
                          <a:effectLst/>
                          <a:latin typeface="+mj-lt"/>
                        </a:rPr>
                        <a:t>IDE (MTND)</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c>
                  <a:txBody>
                    <a:bodyPr/>
                    <a:lstStyle/>
                    <a:p>
                      <a:pPr algn="ctr">
                        <a:lnSpc>
                          <a:spcPct val="115000"/>
                        </a:lnSpc>
                        <a:spcAft>
                          <a:spcPts val="0"/>
                        </a:spcAft>
                      </a:pPr>
                      <a:r>
                        <a:rPr lang="fr-FR" sz="1600" b="1" dirty="0" smtClean="0">
                          <a:solidFill>
                            <a:srgbClr val="00507A"/>
                          </a:solidFill>
                          <a:effectLst/>
                          <a:latin typeface="+mj-lt"/>
                          <a:ea typeface="Calibri"/>
                          <a:cs typeface="Arial"/>
                        </a:rPr>
                        <a:t>Jobs</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85000"/>
                      </a:schemeClr>
                    </a:solidFill>
                  </a:tcPr>
                </a:tc>
              </a:tr>
              <a:tr h="443095">
                <a:tc>
                  <a:txBody>
                    <a:bodyPr/>
                    <a:lstStyle/>
                    <a:p>
                      <a:pPr>
                        <a:lnSpc>
                          <a:spcPct val="115000"/>
                        </a:lnSpc>
                        <a:spcAft>
                          <a:spcPts val="0"/>
                        </a:spcAft>
                      </a:pPr>
                      <a:r>
                        <a:rPr lang="fr-FR" sz="1600" dirty="0" err="1" smtClean="0">
                          <a:solidFill>
                            <a:srgbClr val="00507A"/>
                          </a:solidFill>
                          <a:effectLst/>
                          <a:latin typeface="+mj-lt"/>
                        </a:rPr>
                        <a:t>Industry</a:t>
                      </a:r>
                      <a:endParaRPr lang="fr-FR" sz="1600"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lnSpc>
                          <a:spcPct val="115000"/>
                        </a:lnSpc>
                        <a:spcAft>
                          <a:spcPts val="0"/>
                        </a:spcAft>
                      </a:pPr>
                      <a:r>
                        <a:rPr lang="fr-FR" sz="1600" b="1" dirty="0" smtClean="0">
                          <a:solidFill>
                            <a:srgbClr val="00507A"/>
                          </a:solidFill>
                          <a:effectLst/>
                          <a:latin typeface="+mj-lt"/>
                          <a:ea typeface="Calibri"/>
                          <a:cs typeface="Arial"/>
                        </a:rPr>
                        <a:t>24</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15000"/>
                        </a:lnSpc>
                        <a:spcAft>
                          <a:spcPts val="0"/>
                        </a:spcAft>
                      </a:pPr>
                      <a:r>
                        <a:rPr lang="fr-FR" sz="1600" b="1" dirty="0" smtClean="0">
                          <a:solidFill>
                            <a:srgbClr val="00507A"/>
                          </a:solidFill>
                          <a:effectLst/>
                          <a:latin typeface="+mj-lt"/>
                          <a:ea typeface="Calibri"/>
                          <a:cs typeface="Arial"/>
                        </a:rPr>
                        <a:t>12,391</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15000"/>
                        </a:lnSpc>
                        <a:spcAft>
                          <a:spcPts val="0"/>
                        </a:spcAft>
                      </a:pPr>
                      <a:r>
                        <a:rPr lang="fr-FR" sz="1600" b="1" dirty="0" smtClean="0">
                          <a:solidFill>
                            <a:srgbClr val="00507A"/>
                          </a:solidFill>
                          <a:effectLst/>
                          <a:latin typeface="+mj-lt"/>
                          <a:ea typeface="Calibri"/>
                          <a:cs typeface="Arial"/>
                        </a:rPr>
                        <a:t>663</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443095">
                <a:tc>
                  <a:txBody>
                    <a:bodyPr/>
                    <a:lstStyle/>
                    <a:p>
                      <a:pPr>
                        <a:lnSpc>
                          <a:spcPct val="115000"/>
                        </a:lnSpc>
                        <a:spcAft>
                          <a:spcPts val="0"/>
                        </a:spcAft>
                      </a:pPr>
                      <a:r>
                        <a:rPr lang="fr-FR" sz="1600" dirty="0" smtClean="0">
                          <a:solidFill>
                            <a:srgbClr val="00507A"/>
                          </a:solidFill>
                          <a:effectLst/>
                          <a:latin typeface="+mj-lt"/>
                          <a:ea typeface="Calibri"/>
                          <a:cs typeface="Arial"/>
                        </a:rPr>
                        <a:t>Services</a:t>
                      </a:r>
                      <a:endParaRPr lang="fr-FR" sz="1600"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algn="ctr">
                        <a:lnSpc>
                          <a:spcPct val="115000"/>
                        </a:lnSpc>
                        <a:spcAft>
                          <a:spcPts val="0"/>
                        </a:spcAft>
                      </a:pPr>
                      <a:r>
                        <a:rPr lang="fr-FR" sz="1600" b="1" dirty="0" smtClean="0">
                          <a:solidFill>
                            <a:srgbClr val="00507A"/>
                          </a:solidFill>
                          <a:effectLst/>
                          <a:latin typeface="+mj-lt"/>
                          <a:ea typeface="Calibri"/>
                          <a:cs typeface="Arial"/>
                        </a:rPr>
                        <a:t>02</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15000"/>
                        </a:lnSpc>
                        <a:spcAft>
                          <a:spcPts val="0"/>
                        </a:spcAft>
                      </a:pPr>
                      <a:r>
                        <a:rPr lang="fr-FR" sz="1600" b="1" dirty="0" smtClean="0">
                          <a:solidFill>
                            <a:srgbClr val="00507A"/>
                          </a:solidFill>
                          <a:effectLst/>
                          <a:latin typeface="+mj-lt"/>
                          <a:ea typeface="Calibri"/>
                          <a:cs typeface="Arial"/>
                        </a:rPr>
                        <a:t>381,038</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15000"/>
                        </a:lnSpc>
                        <a:spcAft>
                          <a:spcPts val="0"/>
                        </a:spcAft>
                      </a:pPr>
                      <a:r>
                        <a:rPr lang="fr-FR" sz="1600" b="1" dirty="0" smtClean="0">
                          <a:solidFill>
                            <a:srgbClr val="00507A"/>
                          </a:solidFill>
                          <a:effectLst/>
                          <a:latin typeface="+mj-lt"/>
                          <a:ea typeface="Calibri"/>
                          <a:cs typeface="Arial"/>
                        </a:rPr>
                        <a:t>534</a:t>
                      </a:r>
                      <a:endParaRPr lang="fr-FR" sz="1600" b="1" dirty="0">
                        <a:solidFill>
                          <a:srgbClr val="00507A"/>
                        </a:solidFill>
                        <a:effectLst/>
                        <a:latin typeface="+mj-lt"/>
                        <a:ea typeface="Calibri"/>
                        <a:cs typeface="Arial"/>
                      </a:endParaRPr>
                    </a:p>
                  </a:txBody>
                  <a:tcPr marL="41612" marR="41612" marT="0" marB="0" anchor="ctr">
                    <a:lnL w="3175" cap="flat" cmpd="sng" algn="ctr">
                      <a:solidFill>
                        <a:schemeClr val="accent1">
                          <a:lumMod val="40000"/>
                          <a:lumOff val="60000"/>
                        </a:schemeClr>
                      </a:solidFill>
                      <a:prstDash val="solid"/>
                      <a:round/>
                      <a:headEnd type="none" w="med" len="med"/>
                      <a:tailEnd type="none" w="med" len="med"/>
                    </a:lnL>
                    <a:lnR w="3175" cap="flat" cmpd="sng" algn="ctr">
                      <a:solidFill>
                        <a:schemeClr val="accent1">
                          <a:lumMod val="40000"/>
                          <a:lumOff val="60000"/>
                        </a:schemeClr>
                      </a:solidFill>
                      <a:prstDash val="solid"/>
                      <a:round/>
                      <a:headEnd type="none" w="med" len="med"/>
                      <a:tailEnd type="none" w="med" len="med"/>
                    </a:lnR>
                    <a:lnT w="3175" cap="flat" cmpd="sng" algn="ctr">
                      <a:solidFill>
                        <a:schemeClr val="accent1">
                          <a:lumMod val="40000"/>
                          <a:lumOff val="60000"/>
                        </a:schemeClr>
                      </a:solidFill>
                      <a:prstDash val="solid"/>
                      <a:round/>
                      <a:headEnd type="none" w="med" len="med"/>
                      <a:tailEnd type="none" w="med" len="med"/>
                    </a:lnT>
                    <a:lnB w="3175"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bl>
          </a:graphicData>
        </a:graphic>
      </p:graphicFrame>
      <p:sp>
        <p:nvSpPr>
          <p:cNvPr id="28" name="Text Box 5"/>
          <p:cNvSpPr txBox="1">
            <a:spLocks noGrp="1" noChangeArrowheads="1"/>
          </p:cNvSpPr>
          <p:nvPr>
            <p:ph type="title"/>
          </p:nvPr>
        </p:nvSpPr>
        <p:spPr>
          <a:xfrm>
            <a:off x="0" y="0"/>
            <a:ext cx="6675438" cy="1052513"/>
          </a:xfrm>
          <a:extLst/>
        </p:spPr>
        <p:txBody>
          <a:bodyPr lIns="91430" tIns="45715" rIns="91430" bIns="45715"/>
          <a:lstStyle>
            <a:lvl1pPr defTabSz="801688">
              <a:spcBef>
                <a:spcPct val="20000"/>
              </a:spcBef>
              <a:buFont typeface="Arial" panose="020B0604020202020204" pitchFamily="34" charset="0"/>
              <a:buChar char="•"/>
              <a:defRPr sz="3200">
                <a:solidFill>
                  <a:schemeClr val="tx1"/>
                </a:solidFill>
                <a:latin typeface="Century Gothic" panose="020B0502020202020204" pitchFamily="34" charset="0"/>
              </a:defRPr>
            </a:lvl1pPr>
            <a:lvl2pPr marL="742950" indent="-285750" defTabSz="801688">
              <a:spcBef>
                <a:spcPct val="20000"/>
              </a:spcBef>
              <a:buFont typeface="Arial" panose="020B0604020202020204" pitchFamily="34" charset="0"/>
              <a:buChar char="–"/>
              <a:defRPr sz="2800">
                <a:solidFill>
                  <a:schemeClr val="tx1"/>
                </a:solidFill>
                <a:latin typeface="Century Gothic" panose="020B0502020202020204" pitchFamily="34" charset="0"/>
              </a:defRPr>
            </a:lvl2pPr>
            <a:lvl3pPr marL="1143000" indent="-228600" defTabSz="801688">
              <a:spcBef>
                <a:spcPct val="20000"/>
              </a:spcBef>
              <a:buFont typeface="Arial" panose="020B0604020202020204" pitchFamily="34" charset="0"/>
              <a:buChar char="•"/>
              <a:defRPr sz="2400">
                <a:solidFill>
                  <a:schemeClr val="tx1"/>
                </a:solidFill>
                <a:latin typeface="Century Gothic" panose="020B0502020202020204" pitchFamily="34" charset="0"/>
              </a:defRPr>
            </a:lvl3pPr>
            <a:lvl4pPr marL="16002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4pPr>
            <a:lvl5pPr marL="2057400" indent="-228600" defTabSz="801688">
              <a:spcBef>
                <a:spcPct val="20000"/>
              </a:spcBef>
              <a:buFont typeface="Arial" panose="020B0604020202020204" pitchFamily="34" charset="0"/>
              <a:buChar char="»"/>
              <a:defRPr sz="2000">
                <a:solidFill>
                  <a:schemeClr val="tx1"/>
                </a:solidFill>
                <a:latin typeface="Century Gothic" panose="020B0502020202020204" pitchFamily="34" charset="0"/>
              </a:defRPr>
            </a:lvl5pPr>
            <a:lvl6pPr marL="25146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6pPr>
            <a:lvl7pPr marL="29718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7pPr>
            <a:lvl8pPr marL="34290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8pPr>
            <a:lvl9pPr marL="3886200" indent="-228600" defTabSz="801688" eaLnBrk="0" fontAlgn="base" hangingPunct="0">
              <a:spcBef>
                <a:spcPct val="20000"/>
              </a:spcBef>
              <a:spcAft>
                <a:spcPct val="0"/>
              </a:spcAft>
              <a:buFont typeface="Arial" panose="020B0604020202020204" pitchFamily="34" charset="0"/>
              <a:buChar char="»"/>
              <a:defRPr sz="2000">
                <a:solidFill>
                  <a:schemeClr val="tx1"/>
                </a:solidFill>
                <a:latin typeface="Century Gothic" panose="020B0502020202020204" pitchFamily="34" charset="0"/>
              </a:defRPr>
            </a:lvl9pPr>
          </a:lstStyle>
          <a:p>
            <a:pPr eaLnBrk="1" hangingPunct="1">
              <a:spcBef>
                <a:spcPct val="0"/>
              </a:spcBef>
              <a:buFontTx/>
              <a:buNone/>
              <a:defRPr/>
            </a:pPr>
            <a:r>
              <a:rPr lang="fr-FR" altLang="en-US" sz="2400" b="1" dirty="0" err="1" smtClean="0">
                <a:solidFill>
                  <a:schemeClr val="tx2"/>
                </a:solidFill>
                <a:effectLst>
                  <a:outerShdw blurRad="38100" dist="38100" dir="2700000" algn="tl">
                    <a:srgbClr val="000000">
                      <a:alpha val="43137"/>
                    </a:srgbClr>
                  </a:outerShdw>
                </a:effectLst>
                <a:latin typeface="MS Reference Sans Serif" panose="020B0604030504040204" pitchFamily="34" charset="0"/>
              </a:rPr>
              <a:t>Cooperation</a:t>
            </a: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 </a:t>
            </a:r>
            <a:r>
              <a:rPr lang="fr-FR" altLang="en-US" sz="2400" b="1" dirty="0" err="1" smtClean="0">
                <a:solidFill>
                  <a:schemeClr val="tx2"/>
                </a:solidFill>
                <a:effectLst>
                  <a:outerShdw blurRad="38100" dist="38100" dir="2700000" algn="tl">
                    <a:srgbClr val="000000">
                      <a:alpha val="43137"/>
                    </a:srgbClr>
                  </a:outerShdw>
                </a:effectLst>
                <a:latin typeface="MS Reference Sans Serif" panose="020B0604030504040204" pitchFamily="34" charset="0"/>
              </a:rPr>
              <a:t>between</a:t>
            </a: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 Tunisia- </a:t>
            </a:r>
            <a:r>
              <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rPr>
              <a:t>Turkey</a:t>
            </a:r>
            <a:endParaRPr lang="fr-FR" altLang="en-US" sz="2400" b="1" dirty="0" smtClean="0">
              <a:solidFill>
                <a:schemeClr val="tx2"/>
              </a:solidFill>
              <a:effectLst>
                <a:outerShdw blurRad="38100" dist="38100" dir="2700000" algn="tl">
                  <a:srgbClr val="000000">
                    <a:alpha val="43137"/>
                  </a:srgbClr>
                </a:outerShdw>
              </a:effectLst>
              <a:latin typeface="MS Reference Sans Serif" panose="020B0604030504040204" pitchFamily="34" charset="0"/>
            </a:endParaRPr>
          </a:p>
        </p:txBody>
      </p:sp>
      <p:pic>
        <p:nvPicPr>
          <p:cNvPr id="163857" name="Picture 4" descr="Afficher l'image d'orig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8175" y="865188"/>
            <a:ext cx="949325"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à coins arrondis 28"/>
          <p:cNvSpPr/>
          <p:nvPr/>
        </p:nvSpPr>
        <p:spPr>
          <a:xfrm>
            <a:off x="2539177" y="4760179"/>
            <a:ext cx="3057536" cy="1368152"/>
          </a:xfrm>
          <a:prstGeom prst="roundRect">
            <a:avLst/>
          </a:prstGeom>
          <a:solidFill>
            <a:schemeClr val="bg2">
              <a:lumMod val="60000"/>
              <a:lumOff val="40000"/>
            </a:schemeClr>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accent4"/>
          </a:lnRef>
          <a:fillRef idx="1003">
            <a:schemeClr val="lt1"/>
          </a:fillRef>
          <a:effectRef idx="2">
            <a:schemeClr val="accent4"/>
          </a:effectRef>
          <a:fontRef idx="minor">
            <a:schemeClr val="lt1"/>
          </a:fontRef>
        </p:style>
        <p:txBody>
          <a:bodyPr lIns="36000" tIns="108000" rIns="36000" bIns="36000" anchor="ctr"/>
          <a:lstStyle/>
          <a:p>
            <a:pPr algn="ctr">
              <a:defRPr/>
            </a:pPr>
            <a:r>
              <a:rPr lang="en-GB" sz="1600" b="1" dirty="0">
                <a:solidFill>
                  <a:srgbClr val="002060"/>
                </a:solidFill>
              </a:rPr>
              <a:t>The first </a:t>
            </a:r>
            <a:r>
              <a:rPr lang="en-GB" sz="1600" b="1" dirty="0" smtClean="0">
                <a:solidFill>
                  <a:srgbClr val="002060"/>
                </a:solidFill>
              </a:rPr>
              <a:t>Turco-Tunisian </a:t>
            </a:r>
            <a:r>
              <a:rPr lang="en-GB" sz="1600" b="1" dirty="0">
                <a:solidFill>
                  <a:srgbClr val="002060"/>
                </a:solidFill>
              </a:rPr>
              <a:t>Treaty, regulating trade between the two countries was signed in </a:t>
            </a:r>
            <a:r>
              <a:rPr lang="en-GB" sz="1600" b="1" dirty="0" smtClean="0">
                <a:solidFill>
                  <a:srgbClr val="002060"/>
                </a:solidFill>
              </a:rPr>
              <a:t>2005</a:t>
            </a:r>
            <a:endParaRPr lang="fr-FR" sz="1600" b="1" dirty="0">
              <a:solidFill>
                <a:srgbClr val="002060"/>
              </a:solidFill>
            </a:endParaRPr>
          </a:p>
        </p:txBody>
      </p:sp>
      <p:sp>
        <p:nvSpPr>
          <p:cNvPr id="39" name="Rectangle 38"/>
          <p:cNvSpPr>
            <a:spLocks noChangeArrowheads="1"/>
          </p:cNvSpPr>
          <p:nvPr/>
        </p:nvSpPr>
        <p:spPr bwMode="auto">
          <a:xfrm rot="20977173">
            <a:off x="3582988" y="2717800"/>
            <a:ext cx="1223962" cy="277813"/>
          </a:xfrm>
          <a:prstGeom prst="rect">
            <a:avLst/>
          </a:prstGeom>
          <a:solidFill>
            <a:schemeClr val="tx2">
              <a:lumMod val="50000"/>
            </a:schemeClr>
          </a:solidFill>
          <a:ln w="9525">
            <a:noFill/>
            <a:miter lim="800000"/>
            <a:headEnd/>
            <a:tailEnd/>
          </a:ln>
          <a:effectLst/>
        </p:spPr>
        <p:txBody>
          <a:bodyPr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fr-FR" sz="1200" b="1" dirty="0" err="1" smtClean="0">
                <a:solidFill>
                  <a:srgbClr val="FFFFFF"/>
                </a:solidFill>
                <a:latin typeface="Calibri" pitchFamily="34" charset="0"/>
                <a:ea typeface="Calibri" pitchFamily="34" charset="0"/>
                <a:cs typeface="Calibri" pitchFamily="34" charset="0"/>
              </a:rPr>
              <a:t>December</a:t>
            </a:r>
            <a:r>
              <a:rPr lang="fr-FR" sz="1200" b="1" dirty="0" smtClean="0">
                <a:solidFill>
                  <a:srgbClr val="FFFFFF"/>
                </a:solidFill>
                <a:latin typeface="Calibri" pitchFamily="34" charset="0"/>
                <a:ea typeface="Calibri" pitchFamily="34" charset="0"/>
                <a:cs typeface="Calibri" pitchFamily="34" charset="0"/>
              </a:rPr>
              <a:t> </a:t>
            </a:r>
            <a:r>
              <a:rPr lang="fr-FR" sz="1200" b="1" dirty="0" smtClean="0">
                <a:solidFill>
                  <a:srgbClr val="FFFFFF"/>
                </a:solidFill>
                <a:latin typeface="Calibri" pitchFamily="34" charset="0"/>
                <a:ea typeface="Calibri" pitchFamily="34" charset="0"/>
                <a:cs typeface="Calibri" pitchFamily="34" charset="0"/>
              </a:rPr>
              <a:t>2017</a:t>
            </a:r>
            <a:endParaRPr lang="en-US" sz="1200" b="1" dirty="0" smtClean="0">
              <a:solidFill>
                <a:srgbClr val="FFFFFF"/>
              </a:solidFill>
              <a:latin typeface="Calibri" pitchFamily="34" charset="0"/>
              <a:ea typeface="Calibri" pitchFamily="34" charset="0"/>
              <a:cs typeface="Calibri" pitchFamily="34" charset="0"/>
            </a:endParaRPr>
          </a:p>
        </p:txBody>
      </p:sp>
      <p:pic>
        <p:nvPicPr>
          <p:cNvPr id="30" name="Image 29">
            <a:extLst>
              <a:ext uri="{FF2B5EF4-FFF2-40B4-BE49-F238E27FC236}">
                <a16:creationId xmlns:a16="http://schemas.microsoft.com/office/drawing/2014/main" xmlns="" id="{20197AC9-D243-4FAD-B6D5-6AA0EBDCD3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4274" y="852488"/>
            <a:ext cx="943670" cy="803276"/>
          </a:xfrm>
          <a:prstGeom prst="rect">
            <a:avLst/>
          </a:prstGeom>
        </p:spPr>
      </p:pic>
    </p:spTree>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GRI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GRID" val="1"/>
</p:tagLst>
</file>

<file path=ppt/tags/tag21.xml><?xml version="1.0" encoding="utf-8"?>
<p:tagLst xmlns:a="http://schemas.openxmlformats.org/drawingml/2006/main" xmlns:r="http://schemas.openxmlformats.org/officeDocument/2006/relationships" xmlns:p="http://schemas.openxmlformats.org/presentationml/2006/main">
  <p:tag name="GRID" val="1"/>
</p:tagLst>
</file>

<file path=ppt/tags/tag22.xml><?xml version="1.0" encoding="utf-8"?>
<p:tagLst xmlns:a="http://schemas.openxmlformats.org/drawingml/2006/main" xmlns:r="http://schemas.openxmlformats.org/officeDocument/2006/relationships" xmlns:p="http://schemas.openxmlformats.org/presentationml/2006/main">
  <p:tag name="GRID" val="1"/>
</p:tagLst>
</file>

<file path=ppt/tags/tag23.xml><?xml version="1.0" encoding="utf-8"?>
<p:tagLst xmlns:a="http://schemas.openxmlformats.org/drawingml/2006/main" xmlns:r="http://schemas.openxmlformats.org/officeDocument/2006/relationships" xmlns:p="http://schemas.openxmlformats.org/presentationml/2006/main">
  <p:tag name="GRID"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GRID" val="1"/>
</p:tagLst>
</file>

<file path=ppt/tags/tag5.xml><?xml version="1.0" encoding="utf-8"?>
<p:tagLst xmlns:a="http://schemas.openxmlformats.org/drawingml/2006/main" xmlns:r="http://schemas.openxmlformats.org/officeDocument/2006/relationships" xmlns:p="http://schemas.openxmlformats.org/presentationml/2006/main">
  <p:tag name="GRID" val="1"/>
</p:tagLst>
</file>

<file path=ppt/tags/tag6.xml><?xml version="1.0" encoding="utf-8"?>
<p:tagLst xmlns:a="http://schemas.openxmlformats.org/drawingml/2006/main" xmlns:r="http://schemas.openxmlformats.org/officeDocument/2006/relationships" xmlns:p="http://schemas.openxmlformats.org/presentationml/2006/main">
  <p:tag name="GRID" val="1"/>
</p:tagLst>
</file>

<file path=ppt/tags/tag7.xml><?xml version="1.0" encoding="utf-8"?>
<p:tagLst xmlns:a="http://schemas.openxmlformats.org/drawingml/2006/main" xmlns:r="http://schemas.openxmlformats.org/officeDocument/2006/relationships" xmlns:p="http://schemas.openxmlformats.org/presentationml/2006/main">
  <p:tag name="GRID" val="1"/>
</p:tagLst>
</file>

<file path=ppt/tags/tag8.xml><?xml version="1.0" encoding="utf-8"?>
<p:tagLst xmlns:a="http://schemas.openxmlformats.org/drawingml/2006/main" xmlns:r="http://schemas.openxmlformats.org/officeDocument/2006/relationships" xmlns:p="http://schemas.openxmlformats.org/presentationml/2006/main">
  <p:tag name="GRID"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térieur Général 2011">
  <a:themeElements>
    <a:clrScheme name="Généraliste2011">
      <a:dk1>
        <a:srgbClr val="0077A9"/>
      </a:dk1>
      <a:lt1>
        <a:srgbClr val="F19C05"/>
      </a:lt1>
      <a:dk2>
        <a:srgbClr val="FFFFFF"/>
      </a:dk2>
      <a:lt2>
        <a:srgbClr val="CBCBCB"/>
      </a:lt2>
      <a:accent1>
        <a:srgbClr val="4BBFE0"/>
      </a:accent1>
      <a:accent2>
        <a:srgbClr val="619025"/>
      </a:accent2>
      <a:accent3>
        <a:srgbClr val="C77AAC"/>
      </a:accent3>
      <a:accent4>
        <a:srgbClr val="CB4551"/>
      </a:accent4>
      <a:accent5>
        <a:srgbClr val="88A8CB"/>
      </a:accent5>
      <a:accent6>
        <a:srgbClr val="9AC00A"/>
      </a:accent6>
      <a:hlink>
        <a:srgbClr val="77D7FF"/>
      </a:hlink>
      <a:folHlink>
        <a:srgbClr val="7F7F7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Cuir Intérieur">
  <a:themeElements>
    <a:clrScheme name="Cuir">
      <a:dk1>
        <a:srgbClr val="C6472F"/>
      </a:dk1>
      <a:lt1>
        <a:srgbClr val="973121"/>
      </a:lt1>
      <a:dk2>
        <a:srgbClr val="FFFFFF"/>
      </a:dk2>
      <a:lt2>
        <a:srgbClr val="FFFFFF"/>
      </a:lt2>
      <a:accent1>
        <a:srgbClr val="0077A9"/>
      </a:accent1>
      <a:accent2>
        <a:srgbClr val="577D83"/>
      </a:accent2>
      <a:accent3>
        <a:srgbClr val="C77AAC"/>
      </a:accent3>
      <a:accent4>
        <a:srgbClr val="E6DC3C"/>
      </a:accent4>
      <a:accent5>
        <a:srgbClr val="F19C05"/>
      </a:accent5>
      <a:accent6>
        <a:srgbClr val="A4B6AF"/>
      </a:accent6>
      <a:hlink>
        <a:srgbClr val="88A8CB"/>
      </a:hlink>
      <a:folHlink>
        <a:srgbClr val="B5CE63"/>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OffShoring Titre">
  <a:themeElements>
    <a:clrScheme name="OffShoring">
      <a:dk1>
        <a:srgbClr val="00507A"/>
      </a:dk1>
      <a:lt1>
        <a:srgbClr val="00B5D3"/>
      </a:lt1>
      <a:dk2>
        <a:srgbClr val="FFFFFF"/>
      </a:dk2>
      <a:lt2>
        <a:srgbClr val="FFFFFF"/>
      </a:lt2>
      <a:accent1>
        <a:srgbClr val="0076A9"/>
      </a:accent1>
      <a:accent2>
        <a:srgbClr val="577D83"/>
      </a:accent2>
      <a:accent3>
        <a:srgbClr val="C77AAC"/>
      </a:accent3>
      <a:accent4>
        <a:srgbClr val="E6DC3C"/>
      </a:accent4>
      <a:accent5>
        <a:srgbClr val="F19C05"/>
      </a:accent5>
      <a:accent6>
        <a:srgbClr val="A4B6AF"/>
      </a:accent6>
      <a:hlink>
        <a:srgbClr val="88A8CB"/>
      </a:hlink>
      <a:folHlink>
        <a:srgbClr val="B5CE63"/>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Offshoring Intérieur">
  <a:themeElements>
    <a:clrScheme name="OffShoring">
      <a:dk1>
        <a:srgbClr val="00507A"/>
      </a:dk1>
      <a:lt1>
        <a:srgbClr val="00B5D3"/>
      </a:lt1>
      <a:dk2>
        <a:srgbClr val="FFFFFF"/>
      </a:dk2>
      <a:lt2>
        <a:srgbClr val="FFFFFF"/>
      </a:lt2>
      <a:accent1>
        <a:srgbClr val="0076A9"/>
      </a:accent1>
      <a:accent2>
        <a:srgbClr val="577D83"/>
      </a:accent2>
      <a:accent3>
        <a:srgbClr val="C77AAC"/>
      </a:accent3>
      <a:accent4>
        <a:srgbClr val="E6DC3C"/>
      </a:accent4>
      <a:accent5>
        <a:srgbClr val="F19C05"/>
      </a:accent5>
      <a:accent6>
        <a:srgbClr val="A4B6AF"/>
      </a:accent6>
      <a:hlink>
        <a:srgbClr val="88A8CB"/>
      </a:hlink>
      <a:folHlink>
        <a:srgbClr val="B5CE63"/>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Plasturgie Titre">
  <a:themeElements>
    <a:clrScheme name="Plasturgie">
      <a:dk1>
        <a:srgbClr val="548FC1"/>
      </a:dk1>
      <a:lt1>
        <a:srgbClr val="00507A"/>
      </a:lt1>
      <a:dk2>
        <a:srgbClr val="FFFFFF"/>
      </a:dk2>
      <a:lt2>
        <a:srgbClr val="FFFFFF"/>
      </a:lt2>
      <a:accent1>
        <a:srgbClr val="577D83"/>
      </a:accent1>
      <a:accent2>
        <a:srgbClr val="C77AAC"/>
      </a:accent2>
      <a:accent3>
        <a:srgbClr val="E6DC3C"/>
      </a:accent3>
      <a:accent4>
        <a:srgbClr val="F19C05"/>
      </a:accent4>
      <a:accent5>
        <a:srgbClr val="A4B6AF"/>
      </a:accent5>
      <a:accent6>
        <a:srgbClr val="B5CE63"/>
      </a:accent6>
      <a:hlink>
        <a:srgbClr val="A4B6AF"/>
      </a:hlink>
      <a:folHlink>
        <a:srgbClr val="FFFFF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_Plasturgie Intérieur">
  <a:themeElements>
    <a:clrScheme name="Plasturgie">
      <a:dk1>
        <a:srgbClr val="548FC1"/>
      </a:dk1>
      <a:lt1>
        <a:srgbClr val="00507A"/>
      </a:lt1>
      <a:dk2>
        <a:srgbClr val="FFFFFF"/>
      </a:dk2>
      <a:lt2>
        <a:srgbClr val="FFFFFF"/>
      </a:lt2>
      <a:accent1>
        <a:srgbClr val="577D83"/>
      </a:accent1>
      <a:accent2>
        <a:srgbClr val="C77AAC"/>
      </a:accent2>
      <a:accent3>
        <a:srgbClr val="E6DC3C"/>
      </a:accent3>
      <a:accent4>
        <a:srgbClr val="F19C05"/>
      </a:accent4>
      <a:accent5>
        <a:srgbClr val="A4B6AF"/>
      </a:accent5>
      <a:accent6>
        <a:srgbClr val="B5CE63"/>
      </a:accent6>
      <a:hlink>
        <a:srgbClr val="A4B6AF"/>
      </a:hlink>
      <a:folHlink>
        <a:srgbClr val="FFFFF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_Textile Titre">
  <a:themeElements>
    <a:clrScheme name="Textile">
      <a:dk1>
        <a:srgbClr val="C41B6D"/>
      </a:dk1>
      <a:lt1>
        <a:srgbClr val="FFFFFF"/>
      </a:lt1>
      <a:dk2>
        <a:srgbClr val="C41B6D"/>
      </a:dk2>
      <a:lt2>
        <a:srgbClr val="EA4693"/>
      </a:lt2>
      <a:accent1>
        <a:srgbClr val="577D83"/>
      </a:accent1>
      <a:accent2>
        <a:srgbClr val="C77AAC"/>
      </a:accent2>
      <a:accent3>
        <a:srgbClr val="E6DC3C"/>
      </a:accent3>
      <a:accent4>
        <a:srgbClr val="F19C05"/>
      </a:accent4>
      <a:accent5>
        <a:srgbClr val="A4B6AF"/>
      </a:accent5>
      <a:accent6>
        <a:srgbClr val="A3A8CB"/>
      </a:accent6>
      <a:hlink>
        <a:srgbClr val="B5CE63"/>
      </a:hlink>
      <a:folHlink>
        <a:srgbClr val="FFFFF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_Textile Intérieur">
  <a:themeElements>
    <a:clrScheme name="Textile">
      <a:dk1>
        <a:srgbClr val="C41B6D"/>
      </a:dk1>
      <a:lt1>
        <a:srgbClr val="FFFFFF"/>
      </a:lt1>
      <a:dk2>
        <a:srgbClr val="C41B6D"/>
      </a:dk2>
      <a:lt2>
        <a:srgbClr val="EA4693"/>
      </a:lt2>
      <a:accent1>
        <a:srgbClr val="577D83"/>
      </a:accent1>
      <a:accent2>
        <a:srgbClr val="C77AAC"/>
      </a:accent2>
      <a:accent3>
        <a:srgbClr val="E6DC3C"/>
      </a:accent3>
      <a:accent4>
        <a:srgbClr val="F19C05"/>
      </a:accent4>
      <a:accent5>
        <a:srgbClr val="A4B6AF"/>
      </a:accent5>
      <a:accent6>
        <a:srgbClr val="A3A8CB"/>
      </a:accent6>
      <a:hlink>
        <a:srgbClr val="B5CE63"/>
      </a:hlink>
      <a:folHlink>
        <a:srgbClr val="FFFFF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General2011">
  <a:themeElements>
    <a:clrScheme name="Généraliste2011">
      <a:dk1>
        <a:srgbClr val="0077A9"/>
      </a:dk1>
      <a:lt1>
        <a:srgbClr val="F19C05"/>
      </a:lt1>
      <a:dk2>
        <a:srgbClr val="FFFFFF"/>
      </a:dk2>
      <a:lt2>
        <a:srgbClr val="CBCBCB"/>
      </a:lt2>
      <a:accent1>
        <a:srgbClr val="4BBFE0"/>
      </a:accent1>
      <a:accent2>
        <a:srgbClr val="619025"/>
      </a:accent2>
      <a:accent3>
        <a:srgbClr val="C77AAC"/>
      </a:accent3>
      <a:accent4>
        <a:srgbClr val="CB4551"/>
      </a:accent4>
      <a:accent5>
        <a:srgbClr val="88A8CB"/>
      </a:accent5>
      <a:accent6>
        <a:srgbClr val="9AC00A"/>
      </a:accent6>
      <a:hlink>
        <a:srgbClr val="77D7FF"/>
      </a:hlink>
      <a:folHlink>
        <a:srgbClr val="7F7F7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Textile Intérieur">
  <a:themeElements>
    <a:clrScheme name="Textile">
      <a:dk1>
        <a:srgbClr val="C41B6D"/>
      </a:dk1>
      <a:lt1>
        <a:srgbClr val="FFFFFF"/>
      </a:lt1>
      <a:dk2>
        <a:srgbClr val="C41B6D"/>
      </a:dk2>
      <a:lt2>
        <a:srgbClr val="EA4693"/>
      </a:lt2>
      <a:accent1>
        <a:srgbClr val="577D83"/>
      </a:accent1>
      <a:accent2>
        <a:srgbClr val="C77AAC"/>
      </a:accent2>
      <a:accent3>
        <a:srgbClr val="E6DC3C"/>
      </a:accent3>
      <a:accent4>
        <a:srgbClr val="F19C05"/>
      </a:accent4>
      <a:accent5>
        <a:srgbClr val="A4B6AF"/>
      </a:accent5>
      <a:accent6>
        <a:srgbClr val="A3A8CB"/>
      </a:accent6>
      <a:hlink>
        <a:srgbClr val="B5CE63"/>
      </a:hlink>
      <a:folHlink>
        <a:srgbClr val="FFFFF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5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Mecanique Titre">
  <a:themeElements>
    <a:clrScheme name="Mecanique">
      <a:dk1>
        <a:srgbClr val="C6472F"/>
      </a:dk1>
      <a:lt1>
        <a:srgbClr val="FFFFFF"/>
      </a:lt1>
      <a:dk2>
        <a:srgbClr val="0076A9"/>
      </a:dk2>
      <a:lt2>
        <a:srgbClr val="FFFFFF"/>
      </a:lt2>
      <a:accent1>
        <a:srgbClr val="973121"/>
      </a:accent1>
      <a:accent2>
        <a:srgbClr val="577D83"/>
      </a:accent2>
      <a:accent3>
        <a:srgbClr val="C77AAC"/>
      </a:accent3>
      <a:accent4>
        <a:srgbClr val="E6DC3C"/>
      </a:accent4>
      <a:accent5>
        <a:srgbClr val="F19C05"/>
      </a:accent5>
      <a:accent6>
        <a:srgbClr val="A4B6AF"/>
      </a:accent6>
      <a:hlink>
        <a:srgbClr val="88A8CB"/>
      </a:hlink>
      <a:folHlink>
        <a:srgbClr val="B5CE63"/>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2_Intérieur Général 2011">
  <a:themeElements>
    <a:clrScheme name="Généraliste2011">
      <a:dk1>
        <a:srgbClr val="0077A9"/>
      </a:dk1>
      <a:lt1>
        <a:srgbClr val="F19C05"/>
      </a:lt1>
      <a:dk2>
        <a:srgbClr val="FFFFFF"/>
      </a:dk2>
      <a:lt2>
        <a:srgbClr val="CBCBCB"/>
      </a:lt2>
      <a:accent1>
        <a:srgbClr val="4BBFE0"/>
      </a:accent1>
      <a:accent2>
        <a:srgbClr val="619025"/>
      </a:accent2>
      <a:accent3>
        <a:srgbClr val="C77AAC"/>
      </a:accent3>
      <a:accent4>
        <a:srgbClr val="CB4551"/>
      </a:accent4>
      <a:accent5>
        <a:srgbClr val="88A8CB"/>
      </a:accent5>
      <a:accent6>
        <a:srgbClr val="9AC00A"/>
      </a:accent6>
      <a:hlink>
        <a:srgbClr val="77D7FF"/>
      </a:hlink>
      <a:folHlink>
        <a:srgbClr val="7F7F7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3_Intérieur Général 2011">
  <a:themeElements>
    <a:clrScheme name="Généraliste2011">
      <a:dk1>
        <a:srgbClr val="0077A9"/>
      </a:dk1>
      <a:lt1>
        <a:srgbClr val="F19C05"/>
      </a:lt1>
      <a:dk2>
        <a:srgbClr val="FFFFFF"/>
      </a:dk2>
      <a:lt2>
        <a:srgbClr val="CBCBCB"/>
      </a:lt2>
      <a:accent1>
        <a:srgbClr val="4BBFE0"/>
      </a:accent1>
      <a:accent2>
        <a:srgbClr val="619025"/>
      </a:accent2>
      <a:accent3>
        <a:srgbClr val="C77AAC"/>
      </a:accent3>
      <a:accent4>
        <a:srgbClr val="CB4551"/>
      </a:accent4>
      <a:accent5>
        <a:srgbClr val="88A8CB"/>
      </a:accent5>
      <a:accent6>
        <a:srgbClr val="9AC00A"/>
      </a:accent6>
      <a:hlink>
        <a:srgbClr val="77D7FF"/>
      </a:hlink>
      <a:folHlink>
        <a:srgbClr val="7F7F7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4_Intérieur Général 2011">
  <a:themeElements>
    <a:clrScheme name="Généraliste2011">
      <a:dk1>
        <a:srgbClr val="0077A9"/>
      </a:dk1>
      <a:lt1>
        <a:srgbClr val="F19C05"/>
      </a:lt1>
      <a:dk2>
        <a:srgbClr val="FFFFFF"/>
      </a:dk2>
      <a:lt2>
        <a:srgbClr val="CBCBCB"/>
      </a:lt2>
      <a:accent1>
        <a:srgbClr val="4BBFE0"/>
      </a:accent1>
      <a:accent2>
        <a:srgbClr val="619025"/>
      </a:accent2>
      <a:accent3>
        <a:srgbClr val="C77AAC"/>
      </a:accent3>
      <a:accent4>
        <a:srgbClr val="CB4551"/>
      </a:accent4>
      <a:accent5>
        <a:srgbClr val="88A8CB"/>
      </a:accent5>
      <a:accent6>
        <a:srgbClr val="9AC00A"/>
      </a:accent6>
      <a:hlink>
        <a:srgbClr val="77D7FF"/>
      </a:hlink>
      <a:folHlink>
        <a:srgbClr val="7F7F7F"/>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6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9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0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7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8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11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Mécanique Intérieur">
  <a:themeElements>
    <a:clrScheme name="Mecanique">
      <a:dk1>
        <a:srgbClr val="C6472F"/>
      </a:dk1>
      <a:lt1>
        <a:srgbClr val="FFFFFF"/>
      </a:lt1>
      <a:dk2>
        <a:srgbClr val="0076A9"/>
      </a:dk2>
      <a:lt2>
        <a:srgbClr val="FFFFFF"/>
      </a:lt2>
      <a:accent1>
        <a:srgbClr val="973121"/>
      </a:accent1>
      <a:accent2>
        <a:srgbClr val="577D83"/>
      </a:accent2>
      <a:accent3>
        <a:srgbClr val="C77AAC"/>
      </a:accent3>
      <a:accent4>
        <a:srgbClr val="E6DC3C"/>
      </a:accent4>
      <a:accent5>
        <a:srgbClr val="F19C05"/>
      </a:accent5>
      <a:accent6>
        <a:srgbClr val="A4B6AF"/>
      </a:accent6>
      <a:hlink>
        <a:srgbClr val="88A8CB"/>
      </a:hlink>
      <a:folHlink>
        <a:srgbClr val="B5CE63"/>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12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13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1_Numu consulting ppt template">
  <a:themeElements>
    <a:clrScheme name="Custom 5">
      <a:dk1>
        <a:srgbClr val="000000"/>
      </a:dk1>
      <a:lt1>
        <a:srgbClr val="FFFFFF"/>
      </a:lt1>
      <a:dk2>
        <a:srgbClr val="980F39"/>
      </a:dk2>
      <a:lt2>
        <a:srgbClr val="E51B2E"/>
      </a:lt2>
      <a:accent1>
        <a:srgbClr val="A9ABAF"/>
      </a:accent1>
      <a:accent2>
        <a:srgbClr val="B0CA91"/>
      </a:accent2>
      <a:accent3>
        <a:srgbClr val="FFFFFF"/>
      </a:accent3>
      <a:accent4>
        <a:srgbClr val="000000"/>
      </a:accent4>
      <a:accent5>
        <a:srgbClr val="86C0F1"/>
      </a:accent5>
      <a:accent6>
        <a:srgbClr val="D8D8D8"/>
      </a:accent6>
      <a:hlink>
        <a:srgbClr val="E51B2E"/>
      </a:hlink>
      <a:folHlink>
        <a:srgbClr val="B0CA91"/>
      </a:folHlink>
    </a:clrScheme>
    <a:fontScheme name="Code d'investissment">
      <a:majorFont>
        <a:latin typeface="Simplified Arabic"/>
        <a:ea typeface=""/>
        <a:cs typeface="Simplified Arabic"/>
      </a:majorFont>
      <a:minorFont>
        <a:latin typeface="Simplified Arabic"/>
        <a:ea typeface=""/>
        <a:cs typeface="Simplified Arab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14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4.xml><?xml version="1.0" encoding="utf-8"?>
<a:theme xmlns:a="http://schemas.openxmlformats.org/drawingml/2006/main" name="15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2_Numu consulting ppt template">
  <a:themeElements>
    <a:clrScheme name="Custom 5">
      <a:dk1>
        <a:srgbClr val="000000"/>
      </a:dk1>
      <a:lt1>
        <a:srgbClr val="FFFFFF"/>
      </a:lt1>
      <a:dk2>
        <a:srgbClr val="980F39"/>
      </a:dk2>
      <a:lt2>
        <a:srgbClr val="E51B2E"/>
      </a:lt2>
      <a:accent1>
        <a:srgbClr val="A9ABAF"/>
      </a:accent1>
      <a:accent2>
        <a:srgbClr val="B0CA91"/>
      </a:accent2>
      <a:accent3>
        <a:srgbClr val="FFFFFF"/>
      </a:accent3>
      <a:accent4>
        <a:srgbClr val="000000"/>
      </a:accent4>
      <a:accent5>
        <a:srgbClr val="86C0F1"/>
      </a:accent5>
      <a:accent6>
        <a:srgbClr val="D8D8D8"/>
      </a:accent6>
      <a:hlink>
        <a:srgbClr val="E51B2E"/>
      </a:hlink>
      <a:folHlink>
        <a:srgbClr val="B0CA91"/>
      </a:folHlink>
    </a:clrScheme>
    <a:fontScheme name="Code d'investissment">
      <a:majorFont>
        <a:latin typeface="Simplified Arabic"/>
        <a:ea typeface=""/>
        <a:cs typeface="Simplified Arabic"/>
      </a:majorFont>
      <a:minorFont>
        <a:latin typeface="Simplified Arabic"/>
        <a:ea typeface=""/>
        <a:cs typeface="Simplified Arab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6.xml><?xml version="1.0" encoding="utf-8"?>
<a:theme xmlns:a="http://schemas.openxmlformats.org/drawingml/2006/main" name="4_FIPA2011 (2)">
  <a:themeElements>
    <a:clrScheme name="Généraliste2011">
      <a:dk1>
        <a:srgbClr val="0077A9"/>
      </a:dk1>
      <a:lt1>
        <a:srgbClr val="990099"/>
      </a:lt1>
      <a:dk2>
        <a:srgbClr val="88A8CB"/>
      </a:dk2>
      <a:lt2>
        <a:srgbClr val="DBF2F9"/>
      </a:lt2>
      <a:accent1>
        <a:srgbClr val="9065E5"/>
      </a:accent1>
      <a:accent2>
        <a:srgbClr val="88A9CB"/>
      </a:accent2>
      <a:accent3>
        <a:srgbClr val="990099"/>
      </a:accent3>
      <a:accent4>
        <a:srgbClr val="88A9CB"/>
      </a:accent4>
      <a:accent5>
        <a:srgbClr val="88A8CB"/>
      </a:accent5>
      <a:accent6>
        <a:srgbClr val="990099"/>
      </a:accent6>
      <a:hlink>
        <a:srgbClr val="FFFFFF"/>
      </a:hlink>
      <a:folHlink>
        <a:srgbClr val="FFFFFF"/>
      </a:folHlink>
    </a:clrScheme>
    <a:fontScheme name="Generaliste201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16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8.xml><?xml version="1.0" encoding="utf-8"?>
<a:theme xmlns:a="http://schemas.openxmlformats.org/drawingml/2006/main" name="17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9.xml><?xml version="1.0" encoding="utf-8"?>
<a:theme xmlns:a="http://schemas.openxmlformats.org/drawingml/2006/main" name="18_Intérieur Général 2011">
  <a:themeElements>
    <a:clrScheme name="Généraliste2011">
      <a:dk1>
        <a:srgbClr val="981150"/>
      </a:dk1>
      <a:lt1>
        <a:srgbClr val="F19C05"/>
      </a:lt1>
      <a:dk2>
        <a:srgbClr val="FFFFFF"/>
      </a:dk2>
      <a:lt2>
        <a:srgbClr val="FFC000"/>
      </a:lt2>
      <a:accent1>
        <a:srgbClr val="4BBFE0"/>
      </a:accent1>
      <a:accent2>
        <a:srgbClr val="619025"/>
      </a:accent2>
      <a:accent3>
        <a:srgbClr val="C77AAC"/>
      </a:accent3>
      <a:accent4>
        <a:srgbClr val="CB4551"/>
      </a:accent4>
      <a:accent5>
        <a:srgbClr val="88A8CB"/>
      </a:accent5>
      <a:accent6>
        <a:srgbClr val="9AC00A"/>
      </a:accent6>
      <a:hlink>
        <a:srgbClr val="FFEB5B"/>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Electrique Titre">
  <a:themeElements>
    <a:clrScheme name="Electrique">
      <a:dk1>
        <a:srgbClr val="009896"/>
      </a:dk1>
      <a:lt1>
        <a:sysClr val="window" lastClr="FFFFFF"/>
      </a:lt1>
      <a:dk2>
        <a:srgbClr val="41BBCD"/>
      </a:dk2>
      <a:lt2>
        <a:srgbClr val="FFFFFF"/>
      </a:lt2>
      <a:accent1>
        <a:srgbClr val="577D83"/>
      </a:accent1>
      <a:accent2>
        <a:srgbClr val="C77AAC"/>
      </a:accent2>
      <a:accent3>
        <a:srgbClr val="E6DC3C"/>
      </a:accent3>
      <a:accent4>
        <a:srgbClr val="F19C05"/>
      </a:accent4>
      <a:accent5>
        <a:srgbClr val="A4B6AF"/>
      </a:accent5>
      <a:accent6>
        <a:srgbClr val="88A8CB"/>
      </a:accent6>
      <a:hlink>
        <a:srgbClr val="B5CE63"/>
      </a:hlink>
      <a:folHlink>
        <a:srgbClr val="009896"/>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0.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Electrique Intérieur">
  <a:themeElements>
    <a:clrScheme name="Electrique">
      <a:dk1>
        <a:srgbClr val="009896"/>
      </a:dk1>
      <a:lt1>
        <a:sysClr val="window" lastClr="FFFFFF"/>
      </a:lt1>
      <a:dk2>
        <a:srgbClr val="41BBCD"/>
      </a:dk2>
      <a:lt2>
        <a:srgbClr val="FFFFFF"/>
      </a:lt2>
      <a:accent1>
        <a:srgbClr val="577D83"/>
      </a:accent1>
      <a:accent2>
        <a:srgbClr val="C77AAC"/>
      </a:accent2>
      <a:accent3>
        <a:srgbClr val="E6DC3C"/>
      </a:accent3>
      <a:accent4>
        <a:srgbClr val="F19C05"/>
      </a:accent4>
      <a:accent5>
        <a:srgbClr val="A4B6AF"/>
      </a:accent5>
      <a:accent6>
        <a:srgbClr val="88A8CB"/>
      </a:accent6>
      <a:hlink>
        <a:srgbClr val="B5CE63"/>
      </a:hlink>
      <a:folHlink>
        <a:srgbClr val="009896"/>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Aeronotique Intérieur">
  <a:themeElements>
    <a:clrScheme name="Aeronotique">
      <a:dk1>
        <a:srgbClr val="00507A"/>
      </a:dk1>
      <a:lt1>
        <a:sysClr val="window" lastClr="FFFFFF"/>
      </a:lt1>
      <a:dk2>
        <a:srgbClr val="00B5D3"/>
      </a:dk2>
      <a:lt2>
        <a:srgbClr val="FFFFFF"/>
      </a:lt2>
      <a:accent1>
        <a:srgbClr val="0076A9"/>
      </a:accent1>
      <a:accent2>
        <a:srgbClr val="577D83"/>
      </a:accent2>
      <a:accent3>
        <a:srgbClr val="C77AAC"/>
      </a:accent3>
      <a:accent4>
        <a:srgbClr val="E6DC3C"/>
      </a:accent4>
      <a:accent5>
        <a:srgbClr val="F19C05"/>
      </a:accent5>
      <a:accent6>
        <a:srgbClr val="A4B6AF"/>
      </a:accent6>
      <a:hlink>
        <a:srgbClr val="88A8CB"/>
      </a:hlink>
      <a:folHlink>
        <a:srgbClr val="B5CE63"/>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Agroalimentaire Titre">
  <a:themeElements>
    <a:clrScheme name="Agroalimentaire">
      <a:dk1>
        <a:srgbClr val="D9DF80"/>
      </a:dk1>
      <a:lt1>
        <a:srgbClr val="981150"/>
      </a:lt1>
      <a:dk2>
        <a:srgbClr val="FFFFFF"/>
      </a:dk2>
      <a:lt2>
        <a:srgbClr val="FFFFFF"/>
      </a:lt2>
      <a:accent1>
        <a:srgbClr val="0077A9"/>
      </a:accent1>
      <a:accent2>
        <a:srgbClr val="619025"/>
      </a:accent2>
      <a:accent3>
        <a:srgbClr val="C77AAC"/>
      </a:accent3>
      <a:accent4>
        <a:srgbClr val="E6DC3C"/>
      </a:accent4>
      <a:accent5>
        <a:srgbClr val="F19C05"/>
      </a:accent5>
      <a:accent6>
        <a:srgbClr val="A4B6AF"/>
      </a:accent6>
      <a:hlink>
        <a:srgbClr val="88A8CB"/>
      </a:hlink>
      <a:folHlink>
        <a:srgbClr val="9AC00A"/>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Agroalimentaire Intérieur">
  <a:themeElements>
    <a:clrScheme name="Agroalimentaire">
      <a:dk1>
        <a:srgbClr val="D9DF80"/>
      </a:dk1>
      <a:lt1>
        <a:srgbClr val="981150"/>
      </a:lt1>
      <a:dk2>
        <a:srgbClr val="FFFFFF"/>
      </a:dk2>
      <a:lt2>
        <a:srgbClr val="FFFFFF"/>
      </a:lt2>
      <a:accent1>
        <a:srgbClr val="0077A9"/>
      </a:accent1>
      <a:accent2>
        <a:srgbClr val="619025"/>
      </a:accent2>
      <a:accent3>
        <a:srgbClr val="C77AAC"/>
      </a:accent3>
      <a:accent4>
        <a:srgbClr val="E6DC3C"/>
      </a:accent4>
      <a:accent5>
        <a:srgbClr val="F19C05"/>
      </a:accent5>
      <a:accent6>
        <a:srgbClr val="A4B6AF"/>
      </a:accent6>
      <a:hlink>
        <a:srgbClr val="88A8CB"/>
      </a:hlink>
      <a:folHlink>
        <a:srgbClr val="9AC00A"/>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Cuir Titre">
  <a:themeElements>
    <a:clrScheme name="Cuir">
      <a:dk1>
        <a:srgbClr val="C6472F"/>
      </a:dk1>
      <a:lt1>
        <a:srgbClr val="973121"/>
      </a:lt1>
      <a:dk2>
        <a:srgbClr val="FFFFFF"/>
      </a:dk2>
      <a:lt2>
        <a:srgbClr val="FFFFFF"/>
      </a:lt2>
      <a:accent1>
        <a:srgbClr val="0077A9"/>
      </a:accent1>
      <a:accent2>
        <a:srgbClr val="577D83"/>
      </a:accent2>
      <a:accent3>
        <a:srgbClr val="C77AAC"/>
      </a:accent3>
      <a:accent4>
        <a:srgbClr val="E6DC3C"/>
      </a:accent4>
      <a:accent5>
        <a:srgbClr val="F19C05"/>
      </a:accent5>
      <a:accent6>
        <a:srgbClr val="A4B6AF"/>
      </a:accent6>
      <a:hlink>
        <a:srgbClr val="88A8CB"/>
      </a:hlink>
      <a:folHlink>
        <a:srgbClr val="B5CE63"/>
      </a:folHlink>
    </a:clrScheme>
    <a:fontScheme name="Generaliste201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074</TotalTime>
  <Words>2733</Words>
  <Application>Microsoft Office PowerPoint</Application>
  <PresentationFormat>Affichage à l'écran (4:3)</PresentationFormat>
  <Paragraphs>419</Paragraphs>
  <Slides>19</Slides>
  <Notes>19</Notes>
  <HiddenSlides>0</HiddenSlides>
  <MMClips>0</MMClips>
  <ScaleCrop>false</ScaleCrop>
  <HeadingPairs>
    <vt:vector size="8" baseType="variant">
      <vt:variant>
        <vt:lpstr>Polices utilisées</vt:lpstr>
      </vt:variant>
      <vt:variant>
        <vt:i4>17</vt:i4>
      </vt:variant>
      <vt:variant>
        <vt:lpstr>Thème</vt:lpstr>
      </vt:variant>
      <vt:variant>
        <vt:i4>39</vt:i4>
      </vt:variant>
      <vt:variant>
        <vt:lpstr>Serveurs OLE incorporés</vt:lpstr>
      </vt:variant>
      <vt:variant>
        <vt:i4>2</vt:i4>
      </vt:variant>
      <vt:variant>
        <vt:lpstr>Titres des diapositives</vt:lpstr>
      </vt:variant>
      <vt:variant>
        <vt:i4>19</vt:i4>
      </vt:variant>
    </vt:vector>
  </HeadingPairs>
  <TitlesOfParts>
    <vt:vector size="77" baseType="lpstr">
      <vt:lpstr>Arial</vt:lpstr>
      <vt:lpstr>Century Gothic</vt:lpstr>
      <vt:lpstr>Calibri</vt:lpstr>
      <vt:lpstr>Simplified Arabic</vt:lpstr>
      <vt:lpstr>Arial Narrow</vt:lpstr>
      <vt:lpstr>MS PGothic</vt:lpstr>
      <vt:lpstr>Arial (corps)</vt:lpstr>
      <vt:lpstr>MS Reference Sans Serif</vt:lpstr>
      <vt:lpstr>Palatino</vt:lpstr>
      <vt:lpstr>Helvetica Neue Light</vt:lpstr>
      <vt:lpstr>Wingdings</vt:lpstr>
      <vt:lpstr>+mj-lt</vt:lpstr>
      <vt:lpstr>Arial Unicode MS</vt:lpstr>
      <vt:lpstr>Trebuchet MS</vt:lpstr>
      <vt:lpstr>Tahoma</vt:lpstr>
      <vt:lpstr>EYInterstate</vt:lpstr>
      <vt:lpstr>SimSun</vt:lpstr>
      <vt:lpstr>1_Intérieur Général 2011</vt:lpstr>
      <vt:lpstr>1_Mecanique Titre</vt:lpstr>
      <vt:lpstr>1_Mécanique Intérieur</vt:lpstr>
      <vt:lpstr>1_Electrique Titre</vt:lpstr>
      <vt:lpstr>1_Electrique Intérieur</vt:lpstr>
      <vt:lpstr>1_Aeronotique Intérieur</vt:lpstr>
      <vt:lpstr>1_Agroalimentaire Titre</vt:lpstr>
      <vt:lpstr>1_Agroalimentaire Intérieur</vt:lpstr>
      <vt:lpstr>1_Cuir Titre</vt:lpstr>
      <vt:lpstr>1_Cuir Intérieur</vt:lpstr>
      <vt:lpstr>1_OffShoring Titre</vt:lpstr>
      <vt:lpstr>1_Offshoring Intérieur</vt:lpstr>
      <vt:lpstr>1_Plasturgie Titre</vt:lpstr>
      <vt:lpstr>1_Plasturgie Intérieur</vt:lpstr>
      <vt:lpstr>1_Textile Titre</vt:lpstr>
      <vt:lpstr>1_Textile Intérieur</vt:lpstr>
      <vt:lpstr>General2011</vt:lpstr>
      <vt:lpstr>Textile Intérieur</vt:lpstr>
      <vt:lpstr>5_Intérieur Général 2011</vt:lpstr>
      <vt:lpstr>2_Intérieur Général 2011</vt:lpstr>
      <vt:lpstr>3_Intérieur Général 2011</vt:lpstr>
      <vt:lpstr>4_Intérieur Général 2011</vt:lpstr>
      <vt:lpstr>6_Intérieur Général 2011</vt:lpstr>
      <vt:lpstr>9_Intérieur Général 2011</vt:lpstr>
      <vt:lpstr>10_Intérieur Général 2011</vt:lpstr>
      <vt:lpstr>Intérieur Général 2011</vt:lpstr>
      <vt:lpstr>7_Intérieur Général 2011</vt:lpstr>
      <vt:lpstr>8_Intérieur Général 2011</vt:lpstr>
      <vt:lpstr>11_Intérieur Général 2011</vt:lpstr>
      <vt:lpstr>12_Intérieur Général 2011</vt:lpstr>
      <vt:lpstr>13_Intérieur Général 2011</vt:lpstr>
      <vt:lpstr>1_Numu consulting ppt template</vt:lpstr>
      <vt:lpstr>14_Intérieur Général 2011</vt:lpstr>
      <vt:lpstr>15_Intérieur Général 2011</vt:lpstr>
      <vt:lpstr>2_Numu consulting ppt template</vt:lpstr>
      <vt:lpstr>4_FIPA2011 (2)</vt:lpstr>
      <vt:lpstr>16_Intérieur Général 2011</vt:lpstr>
      <vt:lpstr>17_Intérieur Général 2011</vt:lpstr>
      <vt:lpstr>18_Intérieur Général 2011</vt:lpstr>
      <vt:lpstr>think-cell Slide</vt:lpstr>
      <vt:lpstr>Bitmap Image</vt:lpstr>
      <vt:lpstr>Présentation PowerPoint</vt:lpstr>
      <vt:lpstr>OVERVIEW</vt:lpstr>
      <vt:lpstr>   1- General Background :           Structural, economic and social reforms </vt:lpstr>
      <vt:lpstr>Présentation PowerPoint</vt:lpstr>
      <vt:lpstr>Présentation PowerPoint</vt:lpstr>
      <vt:lpstr>Présentation PowerPoint</vt:lpstr>
      <vt:lpstr>Présentation PowerPoint</vt:lpstr>
      <vt:lpstr>OVERVIEW</vt:lpstr>
      <vt:lpstr>Cooperation between Tunisia- Turkey</vt:lpstr>
      <vt:lpstr>OVERVIEW</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fgasmi</dc:creator>
  <cp:lastModifiedBy>TUNISIA</cp:lastModifiedBy>
  <cp:revision>882</cp:revision>
  <cp:lastPrinted>2015-01-09T14:22:53Z</cp:lastPrinted>
  <dcterms:created xsi:type="dcterms:W3CDTF">2011-04-25T13:47:24Z</dcterms:created>
  <dcterms:modified xsi:type="dcterms:W3CDTF">2018-09-27T14:35:31Z</dcterms:modified>
</cp:coreProperties>
</file>